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7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1.xml" ContentType="application/vnd.openxmlformats-officedocument.drawingml.chartshape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6.xml" ContentType="application/vnd.openxmlformats-officedocument.drawingml.chart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7.xml" ContentType="application/vnd.openxmlformats-officedocument.drawingml.chart+xml"/>
  <Override PartName="/ppt/notesSlides/notesSlide3.xml" ContentType="application/vnd.openxmlformats-officedocument.presentationml.notesSlide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4.xml" ContentType="application/vnd.openxmlformats-officedocument.presentationml.notesSlid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  <p:sldMasterId id="2147483681" r:id="rId4"/>
    <p:sldMasterId id="2147483692" r:id="rId5"/>
    <p:sldMasterId id="2147483702" r:id="rId6"/>
    <p:sldMasterId id="2147483714" r:id="rId7"/>
    <p:sldMasterId id="2147483721" r:id="rId8"/>
  </p:sldMasterIdLst>
  <p:notesMasterIdLst>
    <p:notesMasterId r:id="rId40"/>
  </p:notesMasterIdLst>
  <p:sldIdLst>
    <p:sldId id="257" r:id="rId9"/>
    <p:sldId id="258" r:id="rId10"/>
    <p:sldId id="259" r:id="rId11"/>
    <p:sldId id="260" r:id="rId12"/>
    <p:sldId id="261" r:id="rId13"/>
    <p:sldId id="262" r:id="rId14"/>
    <p:sldId id="263" r:id="rId15"/>
    <p:sldId id="264" r:id="rId16"/>
    <p:sldId id="265" r:id="rId17"/>
    <p:sldId id="266" r:id="rId18"/>
    <p:sldId id="267" r:id="rId19"/>
    <p:sldId id="268" r:id="rId20"/>
    <p:sldId id="269" r:id="rId21"/>
    <p:sldId id="270" r:id="rId22"/>
    <p:sldId id="271" r:id="rId23"/>
    <p:sldId id="272" r:id="rId24"/>
    <p:sldId id="273" r:id="rId25"/>
    <p:sldId id="274" r:id="rId26"/>
    <p:sldId id="275" r:id="rId27"/>
    <p:sldId id="276" r:id="rId28"/>
    <p:sldId id="277" r:id="rId29"/>
    <p:sldId id="278" r:id="rId30"/>
    <p:sldId id="279" r:id="rId31"/>
    <p:sldId id="280" r:id="rId32"/>
    <p:sldId id="281" r:id="rId33"/>
    <p:sldId id="282" r:id="rId34"/>
    <p:sldId id="283" r:id="rId35"/>
    <p:sldId id="285" r:id="rId36"/>
    <p:sldId id="286" r:id="rId37"/>
    <p:sldId id="287" r:id="rId38"/>
    <p:sldId id="284" r:id="rId39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Lučan Jiří" initials="LJ" lastIdx="1" clrIdx="0">
    <p:extLst>
      <p:ext uri="{19B8F6BF-5375-455C-9EA6-DF929625EA0E}">
        <p15:presenceInfo xmlns:p15="http://schemas.microsoft.com/office/powerpoint/2012/main" userId="S-1-5-21-240127028-979645192-923749875-2894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0" autoAdjust="0"/>
    <p:restoredTop sz="94660"/>
  </p:normalViewPr>
  <p:slideViewPr>
    <p:cSldViewPr snapToGrid="0">
      <p:cViewPr varScale="1">
        <p:scale>
          <a:sx n="99" d="100"/>
          <a:sy n="99" d="100"/>
        </p:scale>
        <p:origin x="84" y="106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1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:$A$105</c:f>
              <c:numCache>
                <c:formatCode>m/d/yyyy</c:formatCode>
                <c:ptCount val="103"/>
                <c:pt idx="0">
                  <c:v>44198</c:v>
                </c:pt>
                <c:pt idx="1">
                  <c:v>44199</c:v>
                </c:pt>
                <c:pt idx="2">
                  <c:v>44200</c:v>
                </c:pt>
                <c:pt idx="3">
                  <c:v>44201</c:v>
                </c:pt>
                <c:pt idx="4">
                  <c:v>44202</c:v>
                </c:pt>
                <c:pt idx="5">
                  <c:v>44203</c:v>
                </c:pt>
                <c:pt idx="6">
                  <c:v>44204</c:v>
                </c:pt>
                <c:pt idx="7">
                  <c:v>44205</c:v>
                </c:pt>
                <c:pt idx="8">
                  <c:v>44206</c:v>
                </c:pt>
                <c:pt idx="9">
                  <c:v>44207</c:v>
                </c:pt>
                <c:pt idx="10">
                  <c:v>44208</c:v>
                </c:pt>
                <c:pt idx="11">
                  <c:v>44209</c:v>
                </c:pt>
                <c:pt idx="12">
                  <c:v>44210</c:v>
                </c:pt>
                <c:pt idx="13">
                  <c:v>44211</c:v>
                </c:pt>
                <c:pt idx="14">
                  <c:v>44212</c:v>
                </c:pt>
                <c:pt idx="15">
                  <c:v>44213</c:v>
                </c:pt>
                <c:pt idx="16">
                  <c:v>44214</c:v>
                </c:pt>
                <c:pt idx="17">
                  <c:v>44215</c:v>
                </c:pt>
                <c:pt idx="18">
                  <c:v>44216</c:v>
                </c:pt>
                <c:pt idx="19">
                  <c:v>44217</c:v>
                </c:pt>
                <c:pt idx="20">
                  <c:v>44218</c:v>
                </c:pt>
                <c:pt idx="21">
                  <c:v>44219</c:v>
                </c:pt>
                <c:pt idx="22">
                  <c:v>44220</c:v>
                </c:pt>
                <c:pt idx="23">
                  <c:v>44221</c:v>
                </c:pt>
                <c:pt idx="24">
                  <c:v>44222</c:v>
                </c:pt>
                <c:pt idx="25">
                  <c:v>44223</c:v>
                </c:pt>
                <c:pt idx="26">
                  <c:v>44224</c:v>
                </c:pt>
                <c:pt idx="27">
                  <c:v>44225</c:v>
                </c:pt>
                <c:pt idx="28">
                  <c:v>44226</c:v>
                </c:pt>
                <c:pt idx="29">
                  <c:v>44227</c:v>
                </c:pt>
                <c:pt idx="30">
                  <c:v>44228</c:v>
                </c:pt>
                <c:pt idx="31">
                  <c:v>44229</c:v>
                </c:pt>
                <c:pt idx="32">
                  <c:v>44230</c:v>
                </c:pt>
                <c:pt idx="33">
                  <c:v>44231</c:v>
                </c:pt>
                <c:pt idx="34">
                  <c:v>44232</c:v>
                </c:pt>
                <c:pt idx="35">
                  <c:v>44233</c:v>
                </c:pt>
                <c:pt idx="36">
                  <c:v>44234</c:v>
                </c:pt>
                <c:pt idx="37">
                  <c:v>44235</c:v>
                </c:pt>
                <c:pt idx="38">
                  <c:v>44236</c:v>
                </c:pt>
                <c:pt idx="39">
                  <c:v>44237</c:v>
                </c:pt>
                <c:pt idx="40">
                  <c:v>44238</c:v>
                </c:pt>
                <c:pt idx="41">
                  <c:v>44239</c:v>
                </c:pt>
                <c:pt idx="42">
                  <c:v>44240</c:v>
                </c:pt>
                <c:pt idx="43">
                  <c:v>44241</c:v>
                </c:pt>
                <c:pt idx="44">
                  <c:v>44242</c:v>
                </c:pt>
                <c:pt idx="45">
                  <c:v>44243</c:v>
                </c:pt>
                <c:pt idx="46">
                  <c:v>44244</c:v>
                </c:pt>
                <c:pt idx="47">
                  <c:v>44245</c:v>
                </c:pt>
                <c:pt idx="48">
                  <c:v>44246</c:v>
                </c:pt>
                <c:pt idx="49">
                  <c:v>44247</c:v>
                </c:pt>
                <c:pt idx="50">
                  <c:v>44248</c:v>
                </c:pt>
                <c:pt idx="51">
                  <c:v>44249</c:v>
                </c:pt>
                <c:pt idx="52">
                  <c:v>44250</c:v>
                </c:pt>
                <c:pt idx="53">
                  <c:v>44251</c:v>
                </c:pt>
                <c:pt idx="54">
                  <c:v>44252</c:v>
                </c:pt>
                <c:pt idx="55">
                  <c:v>44253</c:v>
                </c:pt>
                <c:pt idx="56">
                  <c:v>44254</c:v>
                </c:pt>
                <c:pt idx="57">
                  <c:v>44255</c:v>
                </c:pt>
                <c:pt idx="58">
                  <c:v>44256</c:v>
                </c:pt>
                <c:pt idx="59">
                  <c:v>44257</c:v>
                </c:pt>
                <c:pt idx="60">
                  <c:v>44258</c:v>
                </c:pt>
                <c:pt idx="61">
                  <c:v>44259</c:v>
                </c:pt>
                <c:pt idx="62">
                  <c:v>44260</c:v>
                </c:pt>
                <c:pt idx="63">
                  <c:v>44261</c:v>
                </c:pt>
                <c:pt idx="64">
                  <c:v>44262</c:v>
                </c:pt>
                <c:pt idx="65">
                  <c:v>44263</c:v>
                </c:pt>
                <c:pt idx="66">
                  <c:v>44264</c:v>
                </c:pt>
                <c:pt idx="67">
                  <c:v>44265</c:v>
                </c:pt>
                <c:pt idx="68">
                  <c:v>44266</c:v>
                </c:pt>
                <c:pt idx="69">
                  <c:v>44267</c:v>
                </c:pt>
                <c:pt idx="70">
                  <c:v>44268</c:v>
                </c:pt>
                <c:pt idx="71">
                  <c:v>44269</c:v>
                </c:pt>
                <c:pt idx="72">
                  <c:v>44270</c:v>
                </c:pt>
                <c:pt idx="73">
                  <c:v>44271</c:v>
                </c:pt>
                <c:pt idx="74">
                  <c:v>44272</c:v>
                </c:pt>
                <c:pt idx="75">
                  <c:v>44273</c:v>
                </c:pt>
                <c:pt idx="76">
                  <c:v>44274</c:v>
                </c:pt>
                <c:pt idx="77">
                  <c:v>44275</c:v>
                </c:pt>
                <c:pt idx="78">
                  <c:v>44276</c:v>
                </c:pt>
                <c:pt idx="79">
                  <c:v>44277</c:v>
                </c:pt>
                <c:pt idx="80">
                  <c:v>44278</c:v>
                </c:pt>
                <c:pt idx="81">
                  <c:v>44279</c:v>
                </c:pt>
                <c:pt idx="82">
                  <c:v>44280</c:v>
                </c:pt>
                <c:pt idx="83">
                  <c:v>44281</c:v>
                </c:pt>
                <c:pt idx="84">
                  <c:v>44282</c:v>
                </c:pt>
                <c:pt idx="85">
                  <c:v>44283</c:v>
                </c:pt>
                <c:pt idx="86">
                  <c:v>44284</c:v>
                </c:pt>
                <c:pt idx="87">
                  <c:v>44285</c:v>
                </c:pt>
                <c:pt idx="88">
                  <c:v>44286</c:v>
                </c:pt>
                <c:pt idx="89">
                  <c:v>44287</c:v>
                </c:pt>
                <c:pt idx="90">
                  <c:v>44288</c:v>
                </c:pt>
                <c:pt idx="91">
                  <c:v>44289</c:v>
                </c:pt>
                <c:pt idx="92">
                  <c:v>44290</c:v>
                </c:pt>
                <c:pt idx="93">
                  <c:v>44291</c:v>
                </c:pt>
                <c:pt idx="94">
                  <c:v>44292</c:v>
                </c:pt>
                <c:pt idx="95">
                  <c:v>44293</c:v>
                </c:pt>
                <c:pt idx="96">
                  <c:v>44294</c:v>
                </c:pt>
                <c:pt idx="97">
                  <c:v>44295</c:v>
                </c:pt>
                <c:pt idx="98">
                  <c:v>44296</c:v>
                </c:pt>
                <c:pt idx="99">
                  <c:v>44297</c:v>
                </c:pt>
                <c:pt idx="100">
                  <c:v>44298</c:v>
                </c:pt>
                <c:pt idx="101">
                  <c:v>44299</c:v>
                </c:pt>
                <c:pt idx="102">
                  <c:v>44300</c:v>
                </c:pt>
              </c:numCache>
            </c:numRef>
          </c:cat>
          <c:val>
            <c:numRef>
              <c:f>Sheet1!$B$3:$B$105</c:f>
              <c:numCache>
                <c:formatCode>General</c:formatCode>
                <c:ptCount val="103"/>
                <c:pt idx="0">
                  <c:v>384</c:v>
                </c:pt>
                <c:pt idx="1">
                  <c:v>348</c:v>
                </c:pt>
                <c:pt idx="2">
                  <c:v>743</c:v>
                </c:pt>
                <c:pt idx="3">
                  <c:v>1258</c:v>
                </c:pt>
                <c:pt idx="4">
                  <c:v>933</c:v>
                </c:pt>
                <c:pt idx="5">
                  <c:v>1028</c:v>
                </c:pt>
                <c:pt idx="6">
                  <c:v>824</c:v>
                </c:pt>
                <c:pt idx="7">
                  <c:v>453</c:v>
                </c:pt>
                <c:pt idx="8">
                  <c:v>329</c:v>
                </c:pt>
                <c:pt idx="9">
                  <c:v>496</c:v>
                </c:pt>
                <c:pt idx="10">
                  <c:v>731</c:v>
                </c:pt>
                <c:pt idx="11">
                  <c:v>593</c:v>
                </c:pt>
                <c:pt idx="12">
                  <c:v>389</c:v>
                </c:pt>
                <c:pt idx="13">
                  <c:v>484</c:v>
                </c:pt>
                <c:pt idx="14">
                  <c:v>313</c:v>
                </c:pt>
                <c:pt idx="15">
                  <c:v>130</c:v>
                </c:pt>
                <c:pt idx="16">
                  <c:v>280</c:v>
                </c:pt>
                <c:pt idx="17">
                  <c:v>502</c:v>
                </c:pt>
                <c:pt idx="18">
                  <c:v>461</c:v>
                </c:pt>
                <c:pt idx="19">
                  <c:v>220</c:v>
                </c:pt>
                <c:pt idx="20">
                  <c:v>443</c:v>
                </c:pt>
                <c:pt idx="21">
                  <c:v>226</c:v>
                </c:pt>
                <c:pt idx="22">
                  <c:v>130</c:v>
                </c:pt>
                <c:pt idx="23">
                  <c:v>299</c:v>
                </c:pt>
                <c:pt idx="24">
                  <c:v>390</c:v>
                </c:pt>
                <c:pt idx="25">
                  <c:v>331</c:v>
                </c:pt>
                <c:pt idx="26">
                  <c:v>216</c:v>
                </c:pt>
                <c:pt idx="27">
                  <c:v>266</c:v>
                </c:pt>
                <c:pt idx="28">
                  <c:v>207</c:v>
                </c:pt>
                <c:pt idx="29">
                  <c:v>86</c:v>
                </c:pt>
                <c:pt idx="30">
                  <c:v>241</c:v>
                </c:pt>
                <c:pt idx="31">
                  <c:v>274</c:v>
                </c:pt>
                <c:pt idx="32">
                  <c:v>250</c:v>
                </c:pt>
                <c:pt idx="33">
                  <c:v>295</c:v>
                </c:pt>
                <c:pt idx="34">
                  <c:v>230</c:v>
                </c:pt>
                <c:pt idx="35">
                  <c:v>177</c:v>
                </c:pt>
                <c:pt idx="36">
                  <c:v>61</c:v>
                </c:pt>
                <c:pt idx="37">
                  <c:v>140</c:v>
                </c:pt>
                <c:pt idx="38">
                  <c:v>274</c:v>
                </c:pt>
                <c:pt idx="39">
                  <c:v>246</c:v>
                </c:pt>
                <c:pt idx="40">
                  <c:v>187</c:v>
                </c:pt>
                <c:pt idx="41">
                  <c:v>227</c:v>
                </c:pt>
                <c:pt idx="42">
                  <c:v>133</c:v>
                </c:pt>
                <c:pt idx="43">
                  <c:v>72</c:v>
                </c:pt>
                <c:pt idx="44">
                  <c:v>215</c:v>
                </c:pt>
                <c:pt idx="45">
                  <c:v>300</c:v>
                </c:pt>
                <c:pt idx="46">
                  <c:v>239</c:v>
                </c:pt>
                <c:pt idx="47">
                  <c:v>314</c:v>
                </c:pt>
                <c:pt idx="48">
                  <c:v>270</c:v>
                </c:pt>
                <c:pt idx="49">
                  <c:v>223</c:v>
                </c:pt>
                <c:pt idx="50">
                  <c:v>126</c:v>
                </c:pt>
                <c:pt idx="51">
                  <c:v>249</c:v>
                </c:pt>
                <c:pt idx="52">
                  <c:v>428</c:v>
                </c:pt>
                <c:pt idx="53">
                  <c:v>403</c:v>
                </c:pt>
                <c:pt idx="54">
                  <c:v>374</c:v>
                </c:pt>
                <c:pt idx="55">
                  <c:v>370</c:v>
                </c:pt>
                <c:pt idx="56">
                  <c:v>328</c:v>
                </c:pt>
                <c:pt idx="57">
                  <c:v>106</c:v>
                </c:pt>
                <c:pt idx="58">
                  <c:v>322</c:v>
                </c:pt>
                <c:pt idx="59">
                  <c:v>463</c:v>
                </c:pt>
                <c:pt idx="60">
                  <c:v>472</c:v>
                </c:pt>
                <c:pt idx="61">
                  <c:v>380</c:v>
                </c:pt>
                <c:pt idx="62">
                  <c:v>308</c:v>
                </c:pt>
                <c:pt idx="63">
                  <c:v>408</c:v>
                </c:pt>
                <c:pt idx="64">
                  <c:v>166</c:v>
                </c:pt>
                <c:pt idx="65">
                  <c:v>302</c:v>
                </c:pt>
                <c:pt idx="66">
                  <c:v>454</c:v>
                </c:pt>
                <c:pt idx="67">
                  <c:v>497</c:v>
                </c:pt>
                <c:pt idx="68">
                  <c:v>361</c:v>
                </c:pt>
                <c:pt idx="69">
                  <c:v>548</c:v>
                </c:pt>
                <c:pt idx="70">
                  <c:v>380</c:v>
                </c:pt>
                <c:pt idx="71">
                  <c:v>105</c:v>
                </c:pt>
                <c:pt idx="72">
                  <c:v>308</c:v>
                </c:pt>
                <c:pt idx="73">
                  <c:v>544</c:v>
                </c:pt>
                <c:pt idx="74">
                  <c:v>465</c:v>
                </c:pt>
                <c:pt idx="75">
                  <c:v>393</c:v>
                </c:pt>
                <c:pt idx="76">
                  <c:v>331</c:v>
                </c:pt>
                <c:pt idx="77">
                  <c:v>279</c:v>
                </c:pt>
                <c:pt idx="78">
                  <c:v>122</c:v>
                </c:pt>
                <c:pt idx="79">
                  <c:v>236</c:v>
                </c:pt>
                <c:pt idx="80">
                  <c:v>510</c:v>
                </c:pt>
                <c:pt idx="81">
                  <c:v>428</c:v>
                </c:pt>
                <c:pt idx="82">
                  <c:v>371</c:v>
                </c:pt>
                <c:pt idx="83">
                  <c:v>341</c:v>
                </c:pt>
                <c:pt idx="84">
                  <c:v>299</c:v>
                </c:pt>
                <c:pt idx="85">
                  <c:v>138</c:v>
                </c:pt>
                <c:pt idx="86">
                  <c:v>267</c:v>
                </c:pt>
                <c:pt idx="87">
                  <c:v>543</c:v>
                </c:pt>
                <c:pt idx="88">
                  <c:v>394</c:v>
                </c:pt>
                <c:pt idx="89">
                  <c:v>501</c:v>
                </c:pt>
                <c:pt idx="90">
                  <c:v>256</c:v>
                </c:pt>
                <c:pt idx="91">
                  <c:v>176</c:v>
                </c:pt>
                <c:pt idx="92">
                  <c:v>151</c:v>
                </c:pt>
                <c:pt idx="93">
                  <c:v>103</c:v>
                </c:pt>
                <c:pt idx="94">
                  <c:v>178</c:v>
                </c:pt>
                <c:pt idx="95">
                  <c:v>501</c:v>
                </c:pt>
                <c:pt idx="96">
                  <c:v>400</c:v>
                </c:pt>
                <c:pt idx="97">
                  <c:v>303</c:v>
                </c:pt>
                <c:pt idx="98">
                  <c:v>234</c:v>
                </c:pt>
                <c:pt idx="99">
                  <c:v>87</c:v>
                </c:pt>
                <c:pt idx="100">
                  <c:v>188</c:v>
                </c:pt>
                <c:pt idx="101">
                  <c:v>397</c:v>
                </c:pt>
                <c:pt idx="102">
                  <c:v>2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9B-4FBB-A2AC-E8BB2DFAE1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Ústecký kraj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Pardubický kraj</c:v>
                </c:pt>
                <c:pt idx="5">
                  <c:v>Olomoucký kraj</c:v>
                </c:pt>
                <c:pt idx="6">
                  <c:v>Moravskoslezský kraj</c:v>
                </c:pt>
                <c:pt idx="7">
                  <c:v>Liberecký kraj</c:v>
                </c:pt>
                <c:pt idx="8">
                  <c:v>ČR</c:v>
                </c:pt>
                <c:pt idx="9">
                  <c:v>Středočeský kraj</c:v>
                </c:pt>
                <c:pt idx="10">
                  <c:v>Jihomorav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053.5235468691401</c:v>
                </c:pt>
                <c:pt idx="1">
                  <c:v>1196.6405388780199</c:v>
                </c:pt>
                <c:pt idx="2">
                  <c:v>1172.8302097711</c:v>
                </c:pt>
                <c:pt idx="3">
                  <c:v>817.09023182360397</c:v>
                </c:pt>
                <c:pt idx="4">
                  <c:v>1080.8132215466201</c:v>
                </c:pt>
                <c:pt idx="5">
                  <c:v>894.59902059286503</c:v>
                </c:pt>
                <c:pt idx="6">
                  <c:v>795.72591977436798</c:v>
                </c:pt>
                <c:pt idx="7">
                  <c:v>1071.6942009060299</c:v>
                </c:pt>
                <c:pt idx="8">
                  <c:v>898.00400020983795</c:v>
                </c:pt>
                <c:pt idx="9">
                  <c:v>997.15480229088496</c:v>
                </c:pt>
                <c:pt idx="10">
                  <c:v>835.82986084603101</c:v>
                </c:pt>
                <c:pt idx="11">
                  <c:v>736.55285110290299</c:v>
                </c:pt>
                <c:pt idx="12">
                  <c:v>855.23114973919201</c:v>
                </c:pt>
                <c:pt idx="13">
                  <c:v>571.19861070575905</c:v>
                </c:pt>
                <c:pt idx="14">
                  <c:v>337.3333695327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2BF-8BD6-5FBE1940F7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Ústecký kraj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Pardubický kraj</c:v>
                </c:pt>
                <c:pt idx="5">
                  <c:v>Olomoucký kraj</c:v>
                </c:pt>
                <c:pt idx="6">
                  <c:v>Moravskoslezský kraj</c:v>
                </c:pt>
                <c:pt idx="7">
                  <c:v>Liberecký kraj</c:v>
                </c:pt>
                <c:pt idx="8">
                  <c:v>ČR</c:v>
                </c:pt>
                <c:pt idx="9">
                  <c:v>Středočeský kraj</c:v>
                </c:pt>
                <c:pt idx="10">
                  <c:v>Jihomorav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794.99738139278497</c:v>
                </c:pt>
                <c:pt idx="1">
                  <c:v>806.733539188637</c:v>
                </c:pt>
                <c:pt idx="2">
                  <c:v>808.12566082321598</c:v>
                </c:pt>
                <c:pt idx="3">
                  <c:v>722.50688776166999</c:v>
                </c:pt>
                <c:pt idx="4">
                  <c:v>762.63436025576698</c:v>
                </c:pt>
                <c:pt idx="5">
                  <c:v>695.23666368677902</c:v>
                </c:pt>
                <c:pt idx="6">
                  <c:v>625.13587646881899</c:v>
                </c:pt>
                <c:pt idx="7">
                  <c:v>676.14776082399806</c:v>
                </c:pt>
                <c:pt idx="8">
                  <c:v>625.12045374487298</c:v>
                </c:pt>
                <c:pt idx="9">
                  <c:v>619.35932876147604</c:v>
                </c:pt>
                <c:pt idx="10">
                  <c:v>612.00229196745897</c:v>
                </c:pt>
                <c:pt idx="11">
                  <c:v>494.76053725919797</c:v>
                </c:pt>
                <c:pt idx="12">
                  <c:v>484.99827936646699</c:v>
                </c:pt>
                <c:pt idx="13">
                  <c:v>327.02072158463602</c:v>
                </c:pt>
                <c:pt idx="14">
                  <c:v>219.57212282463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2BF-8BD6-5FBE1940F7D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Ústecký kraj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Pardubický kraj</c:v>
                </c:pt>
                <c:pt idx="5">
                  <c:v>Olomoucký kraj</c:v>
                </c:pt>
                <c:pt idx="6">
                  <c:v>Moravskoslezský kraj</c:v>
                </c:pt>
                <c:pt idx="7">
                  <c:v>Liberecký kraj</c:v>
                </c:pt>
                <c:pt idx="8">
                  <c:v>ČR</c:v>
                </c:pt>
                <c:pt idx="9">
                  <c:v>Středočeský kraj</c:v>
                </c:pt>
                <c:pt idx="10">
                  <c:v>Jihomorav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654.35757817081901</c:v>
                </c:pt>
                <c:pt idx="1">
                  <c:v>621.95099669291596</c:v>
                </c:pt>
                <c:pt idx="2">
                  <c:v>617.46700347625995</c:v>
                </c:pt>
                <c:pt idx="3">
                  <c:v>601.14495627022302</c:v>
                </c:pt>
                <c:pt idx="4">
                  <c:v>566.90557186097305</c:v>
                </c:pt>
                <c:pt idx="5">
                  <c:v>553.78432473912801</c:v>
                </c:pt>
                <c:pt idx="6">
                  <c:v>533.09388532983905</c:v>
                </c:pt>
                <c:pt idx="7">
                  <c:v>475.78264103315303</c:v>
                </c:pt>
                <c:pt idx="8">
                  <c:v>472.45453709806998</c:v>
                </c:pt>
                <c:pt idx="9">
                  <c:v>437.13961250154301</c:v>
                </c:pt>
                <c:pt idx="10">
                  <c:v>432.97379422125499</c:v>
                </c:pt>
                <c:pt idx="11">
                  <c:v>366.31309008613698</c:v>
                </c:pt>
                <c:pt idx="12">
                  <c:v>312.08732342316199</c:v>
                </c:pt>
                <c:pt idx="13">
                  <c:v>212.09215313415999</c:v>
                </c:pt>
                <c:pt idx="14">
                  <c:v>154.073792523008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2BF-8BD6-5FBE1940F7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Ústecký kraj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Pardubický kraj</c:v>
                </c:pt>
                <c:pt idx="5">
                  <c:v>Olomoucký kraj</c:v>
                </c:pt>
                <c:pt idx="6">
                  <c:v>Moravskoslezský kraj</c:v>
                </c:pt>
                <c:pt idx="7">
                  <c:v>Liberecký kraj</c:v>
                </c:pt>
                <c:pt idx="8">
                  <c:v>ČR</c:v>
                </c:pt>
                <c:pt idx="9">
                  <c:v>Středočeský kraj</c:v>
                </c:pt>
                <c:pt idx="10">
                  <c:v>Jihomorav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654.35757817081901</c:v>
                </c:pt>
                <c:pt idx="1">
                  <c:v>621.95099669291596</c:v>
                </c:pt>
                <c:pt idx="2">
                  <c:v>617.46700347625995</c:v>
                </c:pt>
                <c:pt idx="3">
                  <c:v>601.14495627022302</c:v>
                </c:pt>
                <c:pt idx="4">
                  <c:v>566.90557186097305</c:v>
                </c:pt>
                <c:pt idx="5">
                  <c:v>553.78432473912801</c:v>
                </c:pt>
                <c:pt idx="6">
                  <c:v>533.09388532983905</c:v>
                </c:pt>
                <c:pt idx="7">
                  <c:v>475.78264103315303</c:v>
                </c:pt>
                <c:pt idx="8">
                  <c:v>472.45453709806998</c:v>
                </c:pt>
                <c:pt idx="9">
                  <c:v>437.13961250154301</c:v>
                </c:pt>
                <c:pt idx="10">
                  <c:v>432.97379422125499</c:v>
                </c:pt>
                <c:pt idx="11">
                  <c:v>366.31309008613698</c:v>
                </c:pt>
                <c:pt idx="12">
                  <c:v>312.08732342316199</c:v>
                </c:pt>
                <c:pt idx="13">
                  <c:v>212.09215313415999</c:v>
                </c:pt>
                <c:pt idx="14">
                  <c:v>154.073792523008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Žďár nad Sázavou</c:v>
                </c:pt>
                <c:pt idx="1">
                  <c:v>Děčín</c:v>
                </c:pt>
                <c:pt idx="2">
                  <c:v>Česká Lípa</c:v>
                </c:pt>
                <c:pt idx="3">
                  <c:v>Jihlava</c:v>
                </c:pt>
                <c:pt idx="4">
                  <c:v>Most</c:v>
                </c:pt>
                <c:pt idx="5">
                  <c:v>České Budějovice</c:v>
                </c:pt>
                <c:pt idx="6">
                  <c:v>Zlín</c:v>
                </c:pt>
                <c:pt idx="7">
                  <c:v>Tábor</c:v>
                </c:pt>
                <c:pt idx="8">
                  <c:v>Český Krumlov</c:v>
                </c:pt>
                <c:pt idx="9">
                  <c:v>Pelhřimov</c:v>
                </c:pt>
                <c:pt idx="10">
                  <c:v>Prachatice</c:v>
                </c:pt>
                <c:pt idx="11">
                  <c:v>Teplice</c:v>
                </c:pt>
                <c:pt idx="12">
                  <c:v>Vsetín</c:v>
                </c:pt>
                <c:pt idx="13">
                  <c:v>Frýdek-Místek</c:v>
                </c:pt>
                <c:pt idx="14">
                  <c:v>Svitavy</c:v>
                </c:pt>
                <c:pt idx="15">
                  <c:v>ČR</c:v>
                </c:pt>
              </c:strCache>
            </c:str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1033.36210836337</c:v>
                </c:pt>
                <c:pt idx="1">
                  <c:v>1428.1082583254799</c:v>
                </c:pt>
                <c:pt idx="2">
                  <c:v>1494.6757018393</c:v>
                </c:pt>
                <c:pt idx="3">
                  <c:v>1138.80381596085</c:v>
                </c:pt>
                <c:pt idx="4">
                  <c:v>1322.1971568732699</c:v>
                </c:pt>
                <c:pt idx="5">
                  <c:v>1199.0628014884901</c:v>
                </c:pt>
                <c:pt idx="6">
                  <c:v>938.68052511844303</c:v>
                </c:pt>
                <c:pt idx="7">
                  <c:v>1213.5094302841201</c:v>
                </c:pt>
                <c:pt idx="8">
                  <c:v>1124.17960881148</c:v>
                </c:pt>
                <c:pt idx="9">
                  <c:v>1240.62958147769</c:v>
                </c:pt>
                <c:pt idx="10">
                  <c:v>882.733728274942</c:v>
                </c:pt>
                <c:pt idx="11">
                  <c:v>1082.34163877525</c:v>
                </c:pt>
                <c:pt idx="12">
                  <c:v>815.57760196464199</c:v>
                </c:pt>
                <c:pt idx="13">
                  <c:v>862.29386005776496</c:v>
                </c:pt>
                <c:pt idx="14">
                  <c:v>1107.99076035386</c:v>
                </c:pt>
                <c:pt idx="15">
                  <c:v>898.004000209837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2BF-8BD6-5FBE1940F7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Žďár nad Sázavou</c:v>
                </c:pt>
                <c:pt idx="1">
                  <c:v>Děčín</c:v>
                </c:pt>
                <c:pt idx="2">
                  <c:v>Česká Lípa</c:v>
                </c:pt>
                <c:pt idx="3">
                  <c:v>Jihlava</c:v>
                </c:pt>
                <c:pt idx="4">
                  <c:v>Most</c:v>
                </c:pt>
                <c:pt idx="5">
                  <c:v>České Budějovice</c:v>
                </c:pt>
                <c:pt idx="6">
                  <c:v>Zlín</c:v>
                </c:pt>
                <c:pt idx="7">
                  <c:v>Tábor</c:v>
                </c:pt>
                <c:pt idx="8">
                  <c:v>Český Krumlov</c:v>
                </c:pt>
                <c:pt idx="9">
                  <c:v>Pelhřimov</c:v>
                </c:pt>
                <c:pt idx="10">
                  <c:v>Prachatice</c:v>
                </c:pt>
                <c:pt idx="11">
                  <c:v>Teplice</c:v>
                </c:pt>
                <c:pt idx="12">
                  <c:v>Vsetín</c:v>
                </c:pt>
                <c:pt idx="13">
                  <c:v>Frýdek-Místek</c:v>
                </c:pt>
                <c:pt idx="14">
                  <c:v>Svitavy</c:v>
                </c:pt>
                <c:pt idx="15">
                  <c:v>ČR</c:v>
                </c:pt>
              </c:strCache>
            </c:strRef>
          </c:cat>
          <c:val>
            <c:numRef>
              <c:f>Sheet1!$C$2:$C$17</c:f>
              <c:numCache>
                <c:formatCode>General</c:formatCode>
                <c:ptCount val="16"/>
                <c:pt idx="0">
                  <c:v>837.86116894327904</c:v>
                </c:pt>
                <c:pt idx="1">
                  <c:v>975.74531812076305</c:v>
                </c:pt>
                <c:pt idx="2">
                  <c:v>988.38334946757004</c:v>
                </c:pt>
                <c:pt idx="3">
                  <c:v>902.06639208645697</c:v>
                </c:pt>
                <c:pt idx="4">
                  <c:v>920.25638271207004</c:v>
                </c:pt>
                <c:pt idx="5">
                  <c:v>921.37435363419604</c:v>
                </c:pt>
                <c:pt idx="6">
                  <c:v>882.32838686786397</c:v>
                </c:pt>
                <c:pt idx="7">
                  <c:v>879.18514547492498</c:v>
                </c:pt>
                <c:pt idx="8">
                  <c:v>815.51757749041496</c:v>
                </c:pt>
                <c:pt idx="9">
                  <c:v>908.68855633315798</c:v>
                </c:pt>
                <c:pt idx="10">
                  <c:v>664.99274196712304</c:v>
                </c:pt>
                <c:pt idx="11">
                  <c:v>750.74377091855695</c:v>
                </c:pt>
                <c:pt idx="12">
                  <c:v>701.15952949055998</c:v>
                </c:pt>
                <c:pt idx="13">
                  <c:v>720.67455511040703</c:v>
                </c:pt>
                <c:pt idx="14">
                  <c:v>798.40510672558003</c:v>
                </c:pt>
                <c:pt idx="15">
                  <c:v>625.120453744872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2BF-8BD6-5FBE1940F7D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Žďár nad Sázavou</c:v>
                </c:pt>
                <c:pt idx="1">
                  <c:v>Děčín</c:v>
                </c:pt>
                <c:pt idx="2">
                  <c:v>Česká Lípa</c:v>
                </c:pt>
                <c:pt idx="3">
                  <c:v>Jihlava</c:v>
                </c:pt>
                <c:pt idx="4">
                  <c:v>Most</c:v>
                </c:pt>
                <c:pt idx="5">
                  <c:v>České Budějovice</c:v>
                </c:pt>
                <c:pt idx="6">
                  <c:v>Zlín</c:v>
                </c:pt>
                <c:pt idx="7">
                  <c:v>Tábor</c:v>
                </c:pt>
                <c:pt idx="8">
                  <c:v>Český Krumlov</c:v>
                </c:pt>
                <c:pt idx="9">
                  <c:v>Pelhřimov</c:v>
                </c:pt>
                <c:pt idx="10">
                  <c:v>Prachatice</c:v>
                </c:pt>
                <c:pt idx="11">
                  <c:v>Teplice</c:v>
                </c:pt>
                <c:pt idx="12">
                  <c:v>Vsetín</c:v>
                </c:pt>
                <c:pt idx="13">
                  <c:v>Frýdek-Místek</c:v>
                </c:pt>
                <c:pt idx="14">
                  <c:v>Svitavy</c:v>
                </c:pt>
                <c:pt idx="15">
                  <c:v>ČR</c:v>
                </c:pt>
              </c:strCache>
            </c:strRef>
          </c:cat>
          <c:val>
            <c:numRef>
              <c:f>Sheet1!$D$2:$D$17</c:f>
              <c:numCache>
                <c:formatCode>General</c:formatCode>
                <c:ptCount val="16"/>
                <c:pt idx="0">
                  <c:v>797.23759711572598</c:v>
                </c:pt>
                <c:pt idx="1">
                  <c:v>766.54675703632699</c:v>
                </c:pt>
                <c:pt idx="2">
                  <c:v>746.36979670861501</c:v>
                </c:pt>
                <c:pt idx="3">
                  <c:v>745.414862533882</c:v>
                </c:pt>
                <c:pt idx="4">
                  <c:v>697.35381530418499</c:v>
                </c:pt>
                <c:pt idx="5">
                  <c:v>693.20020622450897</c:v>
                </c:pt>
                <c:pt idx="6">
                  <c:v>689.79191451171903</c:v>
                </c:pt>
                <c:pt idx="7">
                  <c:v>655.97738681222199</c:v>
                </c:pt>
                <c:pt idx="8">
                  <c:v>654.68841380206595</c:v>
                </c:pt>
                <c:pt idx="9">
                  <c:v>641.75264861276298</c:v>
                </c:pt>
                <c:pt idx="10">
                  <c:v>641.45317587979105</c:v>
                </c:pt>
                <c:pt idx="11">
                  <c:v>636.07908764100603</c:v>
                </c:pt>
                <c:pt idx="12">
                  <c:v>630.69474095469297</c:v>
                </c:pt>
                <c:pt idx="13">
                  <c:v>625.64054784309997</c:v>
                </c:pt>
                <c:pt idx="14">
                  <c:v>624.92212435183399</c:v>
                </c:pt>
                <c:pt idx="15">
                  <c:v>472.45453709806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2BF-8BD6-5FBE1940F7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Žďár nad Sázavou</c:v>
                </c:pt>
                <c:pt idx="1">
                  <c:v>Děčín</c:v>
                </c:pt>
                <c:pt idx="2">
                  <c:v>Česká Lípa</c:v>
                </c:pt>
                <c:pt idx="3">
                  <c:v>Jihlava</c:v>
                </c:pt>
                <c:pt idx="4">
                  <c:v>Most</c:v>
                </c:pt>
                <c:pt idx="5">
                  <c:v>České Budějovice</c:v>
                </c:pt>
                <c:pt idx="6">
                  <c:v>Zlín</c:v>
                </c:pt>
                <c:pt idx="7">
                  <c:v>Tábor</c:v>
                </c:pt>
                <c:pt idx="8">
                  <c:v>Český Krumlov</c:v>
                </c:pt>
                <c:pt idx="9">
                  <c:v>Pelhřimov</c:v>
                </c:pt>
                <c:pt idx="10">
                  <c:v>Prachatice</c:v>
                </c:pt>
                <c:pt idx="11">
                  <c:v>Teplice</c:v>
                </c:pt>
                <c:pt idx="12">
                  <c:v>Vsetín</c:v>
                </c:pt>
                <c:pt idx="13">
                  <c:v>Frýdek-Místek</c:v>
                </c:pt>
                <c:pt idx="14">
                  <c:v>Svitavy</c:v>
                </c:pt>
                <c:pt idx="15">
                  <c:v>ČR</c:v>
                </c:pt>
              </c:strCache>
            </c:str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797.23759711572598</c:v>
                </c:pt>
                <c:pt idx="1">
                  <c:v>766.54675703632699</c:v>
                </c:pt>
                <c:pt idx="2">
                  <c:v>746.36979670861501</c:v>
                </c:pt>
                <c:pt idx="3">
                  <c:v>745.414862533882</c:v>
                </c:pt>
                <c:pt idx="4">
                  <c:v>697.35381530418499</c:v>
                </c:pt>
                <c:pt idx="5">
                  <c:v>693.20020622450897</c:v>
                </c:pt>
                <c:pt idx="6">
                  <c:v>689.79191451171903</c:v>
                </c:pt>
                <c:pt idx="7">
                  <c:v>655.97738681222199</c:v>
                </c:pt>
                <c:pt idx="8">
                  <c:v>654.68841380206595</c:v>
                </c:pt>
                <c:pt idx="9">
                  <c:v>641.75264861276298</c:v>
                </c:pt>
                <c:pt idx="10">
                  <c:v>641.45317587979105</c:v>
                </c:pt>
                <c:pt idx="11">
                  <c:v>636.07908764100603</c:v>
                </c:pt>
                <c:pt idx="12">
                  <c:v>630.69474095469297</c:v>
                </c:pt>
                <c:pt idx="13">
                  <c:v>625.64054784309997</c:v>
                </c:pt>
                <c:pt idx="14">
                  <c:v>624.92212435183399</c:v>
                </c:pt>
                <c:pt idx="15">
                  <c:v>472.45453709806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252</c:v>
                </c:pt>
                <c:pt idx="1">
                  <c:v>8435</c:v>
                </c:pt>
                <c:pt idx="2">
                  <c:v>8380</c:v>
                </c:pt>
                <c:pt idx="3">
                  <c:v>8385</c:v>
                </c:pt>
                <c:pt idx="4">
                  <c:v>8447</c:v>
                </c:pt>
                <c:pt idx="5">
                  <c:v>8105</c:v>
                </c:pt>
                <c:pt idx="6">
                  <c:v>8331</c:v>
                </c:pt>
                <c:pt idx="7">
                  <c:v>9005</c:v>
                </c:pt>
                <c:pt idx="8">
                  <c:v>8980</c:v>
                </c:pt>
                <c:pt idx="9">
                  <c:v>9002</c:v>
                </c:pt>
                <c:pt idx="10">
                  <c:v>8964</c:v>
                </c:pt>
                <c:pt idx="11">
                  <c:v>8932</c:v>
                </c:pt>
                <c:pt idx="12">
                  <c:v>8532</c:v>
                </c:pt>
                <c:pt idx="13">
                  <c:v>8746</c:v>
                </c:pt>
                <c:pt idx="14">
                  <c:v>9462</c:v>
                </c:pt>
                <c:pt idx="15">
                  <c:v>9330</c:v>
                </c:pt>
                <c:pt idx="16">
                  <c:v>9161</c:v>
                </c:pt>
                <c:pt idx="17">
                  <c:v>8958</c:v>
                </c:pt>
                <c:pt idx="18">
                  <c:v>8767</c:v>
                </c:pt>
                <c:pt idx="19">
                  <c:v>8211</c:v>
                </c:pt>
                <c:pt idx="20">
                  <c:v>8324</c:v>
                </c:pt>
                <c:pt idx="21">
                  <c:v>8961</c:v>
                </c:pt>
                <c:pt idx="22">
                  <c:v>8629</c:v>
                </c:pt>
                <c:pt idx="23">
                  <c:v>8313</c:v>
                </c:pt>
                <c:pt idx="24">
                  <c:v>8161</c:v>
                </c:pt>
                <c:pt idx="25">
                  <c:v>8037</c:v>
                </c:pt>
                <c:pt idx="26">
                  <c:v>7517</c:v>
                </c:pt>
                <c:pt idx="27">
                  <c:v>7567</c:v>
                </c:pt>
                <c:pt idx="28">
                  <c:v>8105</c:v>
                </c:pt>
                <c:pt idx="29">
                  <c:v>7834</c:v>
                </c:pt>
                <c:pt idx="30">
                  <c:v>7515</c:v>
                </c:pt>
                <c:pt idx="31">
                  <c:v>7210</c:v>
                </c:pt>
                <c:pt idx="32">
                  <c:v>6384</c:v>
                </c:pt>
                <c:pt idx="33">
                  <c:v>6229</c:v>
                </c:pt>
                <c:pt idx="34">
                  <c:v>6325</c:v>
                </c:pt>
                <c:pt idx="35">
                  <c:v>6398</c:v>
                </c:pt>
                <c:pt idx="36">
                  <c:v>7078</c:v>
                </c:pt>
                <c:pt idx="37">
                  <c:v>6721</c:v>
                </c:pt>
                <c:pt idx="38">
                  <c:v>6243</c:v>
                </c:pt>
                <c:pt idx="39">
                  <c:v>5936</c:v>
                </c:pt>
                <c:pt idx="40">
                  <c:v>5302</c:v>
                </c:pt>
                <c:pt idx="41">
                  <c:v>5258</c:v>
                </c:pt>
                <c:pt idx="42">
                  <c:v>5554</c:v>
                </c:pt>
                <c:pt idx="43">
                  <c:v>5247</c:v>
                </c:pt>
                <c:pt idx="44">
                  <c:v>4960</c:v>
                </c:pt>
                <c:pt idx="45">
                  <c:v>4647</c:v>
                </c:pt>
                <c:pt idx="46">
                  <c:v>4424</c:v>
                </c:pt>
                <c:pt idx="47">
                  <c:v>4031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C4-4C7D-A46E-B9CFA22B4B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7346.4879573838834</c:v>
                </c:pt>
                <c:pt idx="32">
                  <c:v>7170.0064377452973</c:v>
                </c:pt>
                <c:pt idx="33">
                  <c:v>6989.7877903759017</c:v>
                </c:pt>
                <c:pt idx="34">
                  <c:v>6815.2995642743736</c:v>
                </c:pt>
                <c:pt idx="35">
                  <c:v>6643.7396875911763</c:v>
                </c:pt>
                <c:pt idx="36">
                  <c:v>6471.8590522637969</c:v>
                </c:pt>
                <c:pt idx="37">
                  <c:v>6301.9657010734736</c:v>
                </c:pt>
                <c:pt idx="38">
                  <c:v>6130.7964568235693</c:v>
                </c:pt>
                <c:pt idx="39">
                  <c:v>5955.6341215840475</c:v>
                </c:pt>
                <c:pt idx="40">
                  <c:v>5779.1811987865312</c:v>
                </c:pt>
                <c:pt idx="41">
                  <c:v>5603.0466812152017</c:v>
                </c:pt>
                <c:pt idx="42">
                  <c:v>5424.4975767620335</c:v>
                </c:pt>
                <c:pt idx="43">
                  <c:v>5242.6157862713262</c:v>
                </c:pt>
                <c:pt idx="44">
                  <c:v>5059.6774939008719</c:v>
                </c:pt>
                <c:pt idx="45">
                  <c:v>4876.989409061167</c:v>
                </c:pt>
                <c:pt idx="46">
                  <c:v>4696.2160513404879</c:v>
                </c:pt>
                <c:pt idx="47">
                  <c:v>4518.0856342378856</c:v>
                </c:pt>
                <c:pt idx="48">
                  <c:v>4342.538385775586</c:v>
                </c:pt>
                <c:pt idx="49">
                  <c:v>4168.230104141684</c:v>
                </c:pt>
                <c:pt idx="50">
                  <c:v>3996.1161037365364</c:v>
                </c:pt>
                <c:pt idx="51">
                  <c:v>3828.035495509002</c:v>
                </c:pt>
                <c:pt idx="52">
                  <c:v>3664.4067003691898</c:v>
                </c:pt>
                <c:pt idx="53">
                  <c:v>3505.8406400109211</c:v>
                </c:pt>
                <c:pt idx="54">
                  <c:v>3352.1608032909389</c:v>
                </c:pt>
                <c:pt idx="55">
                  <c:v>3203.816005256851</c:v>
                </c:pt>
                <c:pt idx="56">
                  <c:v>3060.3014328954155</c:v>
                </c:pt>
                <c:pt idx="57">
                  <c:v>2921.9641476191214</c:v>
                </c:pt>
                <c:pt idx="58">
                  <c:v>2788.7865861819605</c:v>
                </c:pt>
                <c:pt idx="59">
                  <c:v>2660.5743671930536</c:v>
                </c:pt>
                <c:pt idx="60">
                  <c:v>2537.61339141343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AC4-4C7D-A46E-B9CFA22B4B7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7359.1487400988754</c:v>
                </c:pt>
                <c:pt idx="32">
                  <c:v>7205.0885308419947</c:v>
                </c:pt>
                <c:pt idx="33">
                  <c:v>7053.3694681235784</c:v>
                </c:pt>
                <c:pt idx="34">
                  <c:v>6911.0531346519101</c:v>
                </c:pt>
                <c:pt idx="35">
                  <c:v>6776.1091415651281</c:v>
                </c:pt>
                <c:pt idx="36">
                  <c:v>6646.1347401229223</c:v>
                </c:pt>
                <c:pt idx="37">
                  <c:v>6523.895107159472</c:v>
                </c:pt>
                <c:pt idx="38">
                  <c:v>6406.2383290128155</c:v>
                </c:pt>
                <c:pt idx="39">
                  <c:v>6288.142417912637</c:v>
                </c:pt>
                <c:pt idx="40">
                  <c:v>6170.9172249777539</c:v>
                </c:pt>
                <c:pt idx="41">
                  <c:v>6055.4780215670071</c:v>
                </c:pt>
                <c:pt idx="42">
                  <c:v>5938.7968252177707</c:v>
                </c:pt>
                <c:pt idx="43">
                  <c:v>5819.3191674173222</c:v>
                </c:pt>
                <c:pt idx="44">
                  <c:v>5698.6855597230287</c:v>
                </c:pt>
                <c:pt idx="45">
                  <c:v>5577.4418957254657</c:v>
                </c:pt>
                <c:pt idx="46">
                  <c:v>5456.3998734071538</c:v>
                </c:pt>
                <c:pt idx="47">
                  <c:v>5335.9384743855671</c:v>
                </c:pt>
                <c:pt idx="48">
                  <c:v>5215.7856838108237</c:v>
                </c:pt>
                <c:pt idx="49">
                  <c:v>5094.4383769703891</c:v>
                </c:pt>
                <c:pt idx="50">
                  <c:v>4972.623913851663</c:v>
                </c:pt>
                <c:pt idx="51">
                  <c:v>4851.8472203581823</c:v>
                </c:pt>
                <c:pt idx="52">
                  <c:v>4732.3085922125483</c:v>
                </c:pt>
                <c:pt idx="53">
                  <c:v>4614.4749860336451</c:v>
                </c:pt>
                <c:pt idx="54">
                  <c:v>4498.2354309702605</c:v>
                </c:pt>
                <c:pt idx="55">
                  <c:v>4384.1393230382091</c:v>
                </c:pt>
                <c:pt idx="56">
                  <c:v>4271.6854349783744</c:v>
                </c:pt>
                <c:pt idx="57">
                  <c:v>4161.2590118095832</c:v>
                </c:pt>
                <c:pt idx="58">
                  <c:v>4052.9094442847068</c:v>
                </c:pt>
                <c:pt idx="59">
                  <c:v>3946.5181470008201</c:v>
                </c:pt>
                <c:pt idx="60">
                  <c:v>3842.50960443031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C4-4C7D-A46E-B9CFA22B4B7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7371.80952281387</c:v>
                </c:pt>
                <c:pt idx="32">
                  <c:v>7240.2104377208161</c:v>
                </c:pt>
                <c:pt idx="33">
                  <c:v>7117.0779933943268</c:v>
                </c:pt>
                <c:pt idx="34">
                  <c:v>7006.9896895826942</c:v>
                </c:pt>
                <c:pt idx="35">
                  <c:v>6909.3497764030908</c:v>
                </c:pt>
                <c:pt idx="36">
                  <c:v>6823.0439394995847</c:v>
                </c:pt>
                <c:pt idx="37">
                  <c:v>6751.6569816162273</c:v>
                </c:pt>
                <c:pt idx="38">
                  <c:v>6692.3068667328498</c:v>
                </c:pt>
                <c:pt idx="39">
                  <c:v>6637.5106256231893</c:v>
                </c:pt>
                <c:pt idx="40">
                  <c:v>6587.0938183800581</c:v>
                </c:pt>
                <c:pt idx="41">
                  <c:v>6541.5941291713798</c:v>
                </c:pt>
                <c:pt idx="42">
                  <c:v>6498.1469237986676</c:v>
                </c:pt>
                <c:pt idx="43">
                  <c:v>6454.8632429166037</c:v>
                </c:pt>
                <c:pt idx="44">
                  <c:v>6412.5304278255144</c:v>
                </c:pt>
                <c:pt idx="45">
                  <c:v>6370.8005267828094</c:v>
                </c:pt>
                <c:pt idx="46">
                  <c:v>6329.613770872741</c:v>
                </c:pt>
                <c:pt idx="47">
                  <c:v>6288.9917878197111</c:v>
                </c:pt>
                <c:pt idx="48">
                  <c:v>6248.561465378255</c:v>
                </c:pt>
                <c:pt idx="49">
                  <c:v>6206.6689206612764</c:v>
                </c:pt>
                <c:pt idx="50">
                  <c:v>6163.518700866417</c:v>
                </c:pt>
                <c:pt idx="51">
                  <c:v>6120.1656733168611</c:v>
                </c:pt>
                <c:pt idx="52">
                  <c:v>6076.5031273307877</c:v>
                </c:pt>
                <c:pt idx="53">
                  <c:v>6032.8033107301353</c:v>
                </c:pt>
                <c:pt idx="54">
                  <c:v>5988.9062310083582</c:v>
                </c:pt>
                <c:pt idx="55">
                  <c:v>5945.3046391626867</c:v>
                </c:pt>
                <c:pt idx="56">
                  <c:v>5901.4128922168784</c:v>
                </c:pt>
                <c:pt idx="57">
                  <c:v>5857.4566871165125</c:v>
                </c:pt>
                <c:pt idx="58">
                  <c:v>5813.4209416048061</c:v>
                </c:pt>
                <c:pt idx="59">
                  <c:v>5769.1524804969513</c:v>
                </c:pt>
                <c:pt idx="60">
                  <c:v>5725.07866728081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AC4-4C7D-A46E-B9CFA22B4B75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156</c:v>
                </c:pt>
                <c:pt idx="1">
                  <c:v>8156</c:v>
                </c:pt>
                <c:pt idx="2">
                  <c:v>8156</c:v>
                </c:pt>
                <c:pt idx="3">
                  <c:v>8156</c:v>
                </c:pt>
                <c:pt idx="4">
                  <c:v>8156</c:v>
                </c:pt>
                <c:pt idx="5">
                  <c:v>8156</c:v>
                </c:pt>
                <c:pt idx="6">
                  <c:v>8156</c:v>
                </c:pt>
                <c:pt idx="7">
                  <c:v>8156</c:v>
                </c:pt>
                <c:pt idx="8">
                  <c:v>8156</c:v>
                </c:pt>
                <c:pt idx="9">
                  <c:v>8156</c:v>
                </c:pt>
                <c:pt idx="10">
                  <c:v>8156</c:v>
                </c:pt>
                <c:pt idx="11">
                  <c:v>8156</c:v>
                </c:pt>
                <c:pt idx="12">
                  <c:v>8156</c:v>
                </c:pt>
                <c:pt idx="13">
                  <c:v>8156</c:v>
                </c:pt>
                <c:pt idx="14">
                  <c:v>8156</c:v>
                </c:pt>
                <c:pt idx="15">
                  <c:v>8156</c:v>
                </c:pt>
                <c:pt idx="16">
                  <c:v>8156</c:v>
                </c:pt>
                <c:pt idx="17">
                  <c:v>8156</c:v>
                </c:pt>
                <c:pt idx="18">
                  <c:v>8156</c:v>
                </c:pt>
                <c:pt idx="19">
                  <c:v>8156</c:v>
                </c:pt>
                <c:pt idx="20">
                  <c:v>8156</c:v>
                </c:pt>
                <c:pt idx="21">
                  <c:v>8156</c:v>
                </c:pt>
                <c:pt idx="22">
                  <c:v>8156</c:v>
                </c:pt>
                <c:pt idx="23">
                  <c:v>8156</c:v>
                </c:pt>
                <c:pt idx="24">
                  <c:v>8156</c:v>
                </c:pt>
                <c:pt idx="25">
                  <c:v>8156</c:v>
                </c:pt>
                <c:pt idx="26">
                  <c:v>8156</c:v>
                </c:pt>
                <c:pt idx="27">
                  <c:v>8156</c:v>
                </c:pt>
                <c:pt idx="28">
                  <c:v>8156</c:v>
                </c:pt>
                <c:pt idx="29">
                  <c:v>8156</c:v>
                </c:pt>
                <c:pt idx="30">
                  <c:v>8156</c:v>
                </c:pt>
                <c:pt idx="31">
                  <c:v>8156</c:v>
                </c:pt>
                <c:pt idx="32">
                  <c:v>8156</c:v>
                </c:pt>
                <c:pt idx="33">
                  <c:v>8156</c:v>
                </c:pt>
                <c:pt idx="34">
                  <c:v>8156</c:v>
                </c:pt>
                <c:pt idx="35">
                  <c:v>8156</c:v>
                </c:pt>
                <c:pt idx="36">
                  <c:v>8156</c:v>
                </c:pt>
                <c:pt idx="37">
                  <c:v>8156</c:v>
                </c:pt>
                <c:pt idx="38">
                  <c:v>8156</c:v>
                </c:pt>
                <c:pt idx="39">
                  <c:v>8156</c:v>
                </c:pt>
                <c:pt idx="40">
                  <c:v>8156</c:v>
                </c:pt>
                <c:pt idx="41">
                  <c:v>8156</c:v>
                </c:pt>
                <c:pt idx="42">
                  <c:v>8156</c:v>
                </c:pt>
                <c:pt idx="43">
                  <c:v>8156</c:v>
                </c:pt>
                <c:pt idx="44">
                  <c:v>8156</c:v>
                </c:pt>
                <c:pt idx="45">
                  <c:v>8156</c:v>
                </c:pt>
                <c:pt idx="46">
                  <c:v>8156</c:v>
                </c:pt>
                <c:pt idx="47">
                  <c:v>8156</c:v>
                </c:pt>
                <c:pt idx="48">
                  <c:v>8156</c:v>
                </c:pt>
                <c:pt idx="49">
                  <c:v>8156</c:v>
                </c:pt>
                <c:pt idx="50">
                  <c:v>8156</c:v>
                </c:pt>
                <c:pt idx="51">
                  <c:v>8156</c:v>
                </c:pt>
                <c:pt idx="52">
                  <c:v>8156</c:v>
                </c:pt>
                <c:pt idx="53">
                  <c:v>8156</c:v>
                </c:pt>
                <c:pt idx="54">
                  <c:v>8156</c:v>
                </c:pt>
                <c:pt idx="55">
                  <c:v>8156</c:v>
                </c:pt>
                <c:pt idx="56">
                  <c:v>8156</c:v>
                </c:pt>
                <c:pt idx="57">
                  <c:v>8156</c:v>
                </c:pt>
                <c:pt idx="58">
                  <c:v>8156</c:v>
                </c:pt>
                <c:pt idx="59">
                  <c:v>8156</c:v>
                </c:pt>
                <c:pt idx="60">
                  <c:v>81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C4-4C7D-A46E-B9CFA22B4B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84</c:v>
                </c:pt>
                <c:pt idx="1">
                  <c:v>1595</c:v>
                </c:pt>
                <c:pt idx="2">
                  <c:v>1622</c:v>
                </c:pt>
                <c:pt idx="3">
                  <c:v>1648</c:v>
                </c:pt>
                <c:pt idx="4">
                  <c:v>1668</c:v>
                </c:pt>
                <c:pt idx="5">
                  <c:v>1672</c:v>
                </c:pt>
                <c:pt idx="6">
                  <c:v>1675</c:v>
                </c:pt>
                <c:pt idx="7">
                  <c:v>1770</c:v>
                </c:pt>
                <c:pt idx="8">
                  <c:v>1800</c:v>
                </c:pt>
                <c:pt idx="9">
                  <c:v>1831</c:v>
                </c:pt>
                <c:pt idx="10">
                  <c:v>1820</c:v>
                </c:pt>
                <c:pt idx="11">
                  <c:v>1831</c:v>
                </c:pt>
                <c:pt idx="12">
                  <c:v>1779</c:v>
                </c:pt>
                <c:pt idx="13">
                  <c:v>1826</c:v>
                </c:pt>
                <c:pt idx="14">
                  <c:v>1884</c:v>
                </c:pt>
                <c:pt idx="15">
                  <c:v>1891</c:v>
                </c:pt>
                <c:pt idx="16">
                  <c:v>1860</c:v>
                </c:pt>
                <c:pt idx="17">
                  <c:v>1860</c:v>
                </c:pt>
                <c:pt idx="18">
                  <c:v>1820</c:v>
                </c:pt>
                <c:pt idx="19">
                  <c:v>1781</c:v>
                </c:pt>
                <c:pt idx="20">
                  <c:v>1805</c:v>
                </c:pt>
                <c:pt idx="21">
                  <c:v>1825</c:v>
                </c:pt>
                <c:pt idx="22">
                  <c:v>1778</c:v>
                </c:pt>
                <c:pt idx="23">
                  <c:v>1746</c:v>
                </c:pt>
                <c:pt idx="24">
                  <c:v>1745</c:v>
                </c:pt>
                <c:pt idx="25">
                  <c:v>1684</c:v>
                </c:pt>
                <c:pt idx="26">
                  <c:v>1649</c:v>
                </c:pt>
                <c:pt idx="27">
                  <c:v>1658</c:v>
                </c:pt>
                <c:pt idx="28">
                  <c:v>1668</c:v>
                </c:pt>
                <c:pt idx="29">
                  <c:v>1619</c:v>
                </c:pt>
                <c:pt idx="30">
                  <c:v>1558</c:v>
                </c:pt>
                <c:pt idx="31">
                  <c:v>1512</c:v>
                </c:pt>
                <c:pt idx="32">
                  <c:v>1428</c:v>
                </c:pt>
                <c:pt idx="33">
                  <c:v>1401</c:v>
                </c:pt>
                <c:pt idx="34">
                  <c:v>1381</c:v>
                </c:pt>
                <c:pt idx="35">
                  <c:v>1351</c:v>
                </c:pt>
                <c:pt idx="36">
                  <c:v>1403</c:v>
                </c:pt>
                <c:pt idx="37">
                  <c:v>1373</c:v>
                </c:pt>
                <c:pt idx="38">
                  <c:v>1326</c:v>
                </c:pt>
                <c:pt idx="39">
                  <c:v>1248</c:v>
                </c:pt>
                <c:pt idx="40">
                  <c:v>1231</c:v>
                </c:pt>
                <c:pt idx="41">
                  <c:v>1215</c:v>
                </c:pt>
                <c:pt idx="42">
                  <c:v>1199</c:v>
                </c:pt>
                <c:pt idx="43">
                  <c:v>1178</c:v>
                </c:pt>
                <c:pt idx="44">
                  <c:v>1136</c:v>
                </c:pt>
                <c:pt idx="45">
                  <c:v>1046</c:v>
                </c:pt>
                <c:pt idx="46">
                  <c:v>1028</c:v>
                </c:pt>
                <c:pt idx="47">
                  <c:v>989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E8-4641-AE4B-C0FA008423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530.2191397925492</c:v>
                </c:pt>
                <c:pt idx="32">
                  <c:v>1496.375196120415</c:v>
                </c:pt>
                <c:pt idx="33">
                  <c:v>1462.9106233174198</c:v>
                </c:pt>
                <c:pt idx="34">
                  <c:v>1430.8212562313993</c:v>
                </c:pt>
                <c:pt idx="35">
                  <c:v>1399.7801552886681</c:v>
                </c:pt>
                <c:pt idx="36">
                  <c:v>1369.2191766887213</c:v>
                </c:pt>
                <c:pt idx="37">
                  <c:v>1338.8762059004825</c:v>
                </c:pt>
                <c:pt idx="38">
                  <c:v>1309.0435564479278</c:v>
                </c:pt>
                <c:pt idx="39">
                  <c:v>1278.9122585332334</c:v>
                </c:pt>
                <c:pt idx="40">
                  <c:v>1248.1905271099413</c:v>
                </c:pt>
                <c:pt idx="41">
                  <c:v>1217.2879555428667</c:v>
                </c:pt>
                <c:pt idx="42">
                  <c:v>1185.7562747416152</c:v>
                </c:pt>
                <c:pt idx="43">
                  <c:v>1153.4204530842198</c:v>
                </c:pt>
                <c:pt idx="44">
                  <c:v>1120.3644613469446</c:v>
                </c:pt>
                <c:pt idx="45">
                  <c:v>1086.8226049174418</c:v>
                </c:pt>
                <c:pt idx="46">
                  <c:v>1053.0999138732045</c:v>
                </c:pt>
                <c:pt idx="47">
                  <c:v>1019.3109100344344</c:v>
                </c:pt>
                <c:pt idx="48">
                  <c:v>985.4354782666253</c:v>
                </c:pt>
                <c:pt idx="49">
                  <c:v>951.48201680966565</c:v>
                </c:pt>
                <c:pt idx="50">
                  <c:v>917.70108637994485</c:v>
                </c:pt>
                <c:pt idx="51">
                  <c:v>884.25294492896614</c:v>
                </c:pt>
                <c:pt idx="52">
                  <c:v>851.42170025383575</c:v>
                </c:pt>
                <c:pt idx="53">
                  <c:v>818.99779153161614</c:v>
                </c:pt>
                <c:pt idx="54">
                  <c:v>787.09799345402007</c:v>
                </c:pt>
                <c:pt idx="55">
                  <c:v>755.85630385895911</c:v>
                </c:pt>
                <c:pt idx="56">
                  <c:v>725.39827197834825</c:v>
                </c:pt>
                <c:pt idx="57">
                  <c:v>695.83094032708323</c:v>
                </c:pt>
                <c:pt idx="58">
                  <c:v>667.14453217629364</c:v>
                </c:pt>
                <c:pt idx="59">
                  <c:v>639.40531133780212</c:v>
                </c:pt>
                <c:pt idx="60">
                  <c:v>612.574857789807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E8-4641-AE4B-C0FA0084231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1531.5386658376153</c:v>
                </c:pt>
                <c:pt idx="32">
                  <c:v>1500.1887729458856</c:v>
                </c:pt>
                <c:pt idx="33">
                  <c:v>1470.1483655988056</c:v>
                </c:pt>
                <c:pt idx="34">
                  <c:v>1442.2467855418952</c:v>
                </c:pt>
                <c:pt idx="35">
                  <c:v>1416.2613467966798</c:v>
                </c:pt>
                <c:pt idx="36">
                  <c:v>1391.7296455071655</c:v>
                </c:pt>
                <c:pt idx="37">
                  <c:v>1368.4703481516135</c:v>
                </c:pt>
                <c:pt idx="38">
                  <c:v>1346.7968084630513</c:v>
                </c:pt>
                <c:pt idx="39">
                  <c:v>1325.6980801508812</c:v>
                </c:pt>
                <c:pt idx="40">
                  <c:v>1304.7063045381192</c:v>
                </c:pt>
                <c:pt idx="41">
                  <c:v>1284.1491915546394</c:v>
                </c:pt>
                <c:pt idx="42">
                  <c:v>1263.4973490472935</c:v>
                </c:pt>
                <c:pt idx="43">
                  <c:v>1242.4606938509155</c:v>
                </c:pt>
                <c:pt idx="44">
                  <c:v>1220.9944300601505</c:v>
                </c:pt>
                <c:pt idx="45">
                  <c:v>1199.195466714363</c:v>
                </c:pt>
                <c:pt idx="46">
                  <c:v>1177.2076642874563</c:v>
                </c:pt>
                <c:pt idx="47">
                  <c:v>1155.0388319036074</c:v>
                </c:pt>
                <c:pt idx="48">
                  <c:v>1132.5854717838488</c:v>
                </c:pt>
                <c:pt idx="49">
                  <c:v>1109.7891291041774</c:v>
                </c:pt>
                <c:pt idx="50">
                  <c:v>1086.8311280656749</c:v>
                </c:pt>
                <c:pt idx="51">
                  <c:v>1063.7889384182624</c:v>
                </c:pt>
                <c:pt idx="52">
                  <c:v>1040.8789051430983</c:v>
                </c:pt>
                <c:pt idx="53">
                  <c:v>1017.8437217519023</c:v>
                </c:pt>
                <c:pt idx="54">
                  <c:v>994.77991630954443</c:v>
                </c:pt>
                <c:pt idx="55">
                  <c:v>971.80888023787998</c:v>
                </c:pt>
                <c:pt idx="56">
                  <c:v>949.03548955262227</c:v>
                </c:pt>
                <c:pt idx="57">
                  <c:v>926.55647205745674</c:v>
                </c:pt>
                <c:pt idx="58">
                  <c:v>904.36125783888269</c:v>
                </c:pt>
                <c:pt idx="59">
                  <c:v>882.51795593194993</c:v>
                </c:pt>
                <c:pt idx="60">
                  <c:v>860.999862684778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E8-4641-AE4B-C0FA0084231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532.8581918826821</c:v>
                </c:pt>
                <c:pt idx="32">
                  <c:v>1504.0064992243281</c:v>
                </c:pt>
                <c:pt idx="33">
                  <c:v>1477.3998226745871</c:v>
                </c:pt>
                <c:pt idx="34">
                  <c:v>1453.6935129633644</c:v>
                </c:pt>
                <c:pt idx="35">
                  <c:v>1432.8378993938995</c:v>
                </c:pt>
                <c:pt idx="36">
                  <c:v>1414.5300961180217</c:v>
                </c:pt>
                <c:pt idx="37">
                  <c:v>1398.7214281344327</c:v>
                </c:pt>
                <c:pt idx="38">
                  <c:v>1385.7819034477932</c:v>
                </c:pt>
                <c:pt idx="39">
                  <c:v>1374.502306905232</c:v>
                </c:pt>
                <c:pt idx="40">
                  <c:v>1364.2453775160536</c:v>
                </c:pt>
                <c:pt idx="41">
                  <c:v>1355.3028614970808</c:v>
                </c:pt>
                <c:pt idx="42">
                  <c:v>1347.1253372823521</c:v>
                </c:pt>
                <c:pt idx="43">
                  <c:v>1339.3578031170907</c:v>
                </c:pt>
                <c:pt idx="44">
                  <c:v>1331.8237083445381</c:v>
                </c:pt>
                <c:pt idx="45">
                  <c:v>1324.4852904659108</c:v>
                </c:pt>
                <c:pt idx="46">
                  <c:v>1317.3350333755479</c:v>
                </c:pt>
                <c:pt idx="47">
                  <c:v>1310.2820339410723</c:v>
                </c:pt>
                <c:pt idx="48">
                  <c:v>1303.1574285782322</c:v>
                </c:pt>
                <c:pt idx="49">
                  <c:v>1295.8427422789994</c:v>
                </c:pt>
                <c:pt idx="50">
                  <c:v>1288.4229319450781</c:v>
                </c:pt>
                <c:pt idx="51">
                  <c:v>1280.8802704087643</c:v>
                </c:pt>
                <c:pt idx="52">
                  <c:v>1273.3506552378381</c:v>
                </c:pt>
                <c:pt idx="53">
                  <c:v>1265.5195836787725</c:v>
                </c:pt>
                <c:pt idx="54">
                  <c:v>1257.4464272439079</c:v>
                </c:pt>
                <c:pt idx="55">
                  <c:v>1249.2173097339878</c:v>
                </c:pt>
                <c:pt idx="56">
                  <c:v>1240.8989954278663</c:v>
                </c:pt>
                <c:pt idx="57">
                  <c:v>1232.5484583457223</c:v>
                </c:pt>
                <c:pt idx="58">
                  <c:v>1224.1298886776738</c:v>
                </c:pt>
                <c:pt idx="59">
                  <c:v>1215.6914310179739</c:v>
                </c:pt>
                <c:pt idx="60">
                  <c:v>1207.19277659129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9E8-4641-AE4B-C0FA0084231C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08</c:v>
                </c:pt>
                <c:pt idx="1">
                  <c:v>1208</c:v>
                </c:pt>
                <c:pt idx="2">
                  <c:v>1208</c:v>
                </c:pt>
                <c:pt idx="3">
                  <c:v>1208</c:v>
                </c:pt>
                <c:pt idx="4">
                  <c:v>1208</c:v>
                </c:pt>
                <c:pt idx="5">
                  <c:v>1208</c:v>
                </c:pt>
                <c:pt idx="6">
                  <c:v>1208</c:v>
                </c:pt>
                <c:pt idx="7">
                  <c:v>1208</c:v>
                </c:pt>
                <c:pt idx="8">
                  <c:v>1208</c:v>
                </c:pt>
                <c:pt idx="9">
                  <c:v>1208</c:v>
                </c:pt>
                <c:pt idx="10">
                  <c:v>1208</c:v>
                </c:pt>
                <c:pt idx="11">
                  <c:v>1208</c:v>
                </c:pt>
                <c:pt idx="12">
                  <c:v>1208</c:v>
                </c:pt>
                <c:pt idx="13">
                  <c:v>1208</c:v>
                </c:pt>
                <c:pt idx="14">
                  <c:v>1208</c:v>
                </c:pt>
                <c:pt idx="15">
                  <c:v>1208</c:v>
                </c:pt>
                <c:pt idx="16">
                  <c:v>1208</c:v>
                </c:pt>
                <c:pt idx="17">
                  <c:v>1208</c:v>
                </c:pt>
                <c:pt idx="18">
                  <c:v>1208</c:v>
                </c:pt>
                <c:pt idx="19">
                  <c:v>1208</c:v>
                </c:pt>
                <c:pt idx="20">
                  <c:v>1208</c:v>
                </c:pt>
                <c:pt idx="21">
                  <c:v>1208</c:v>
                </c:pt>
                <c:pt idx="22">
                  <c:v>1208</c:v>
                </c:pt>
                <c:pt idx="23">
                  <c:v>1208</c:v>
                </c:pt>
                <c:pt idx="24">
                  <c:v>1208</c:v>
                </c:pt>
                <c:pt idx="25">
                  <c:v>1208</c:v>
                </c:pt>
                <c:pt idx="26">
                  <c:v>1208</c:v>
                </c:pt>
                <c:pt idx="27">
                  <c:v>1208</c:v>
                </c:pt>
                <c:pt idx="28">
                  <c:v>1208</c:v>
                </c:pt>
                <c:pt idx="29">
                  <c:v>1208</c:v>
                </c:pt>
                <c:pt idx="30">
                  <c:v>1208</c:v>
                </c:pt>
                <c:pt idx="31">
                  <c:v>1208</c:v>
                </c:pt>
                <c:pt idx="32">
                  <c:v>1208</c:v>
                </c:pt>
                <c:pt idx="33">
                  <c:v>1208</c:v>
                </c:pt>
                <c:pt idx="34">
                  <c:v>1208</c:v>
                </c:pt>
                <c:pt idx="35">
                  <c:v>1208</c:v>
                </c:pt>
                <c:pt idx="36">
                  <c:v>1208</c:v>
                </c:pt>
                <c:pt idx="37">
                  <c:v>1208</c:v>
                </c:pt>
                <c:pt idx="38">
                  <c:v>1208</c:v>
                </c:pt>
                <c:pt idx="39">
                  <c:v>1208</c:v>
                </c:pt>
                <c:pt idx="40">
                  <c:v>1208</c:v>
                </c:pt>
                <c:pt idx="41">
                  <c:v>1208</c:v>
                </c:pt>
                <c:pt idx="42">
                  <c:v>1208</c:v>
                </c:pt>
                <c:pt idx="43">
                  <c:v>1208</c:v>
                </c:pt>
                <c:pt idx="44">
                  <c:v>1208</c:v>
                </c:pt>
                <c:pt idx="45">
                  <c:v>1208</c:v>
                </c:pt>
                <c:pt idx="46">
                  <c:v>1208</c:v>
                </c:pt>
                <c:pt idx="47">
                  <c:v>1208</c:v>
                </c:pt>
                <c:pt idx="48">
                  <c:v>1208</c:v>
                </c:pt>
                <c:pt idx="49">
                  <c:v>1208</c:v>
                </c:pt>
                <c:pt idx="50">
                  <c:v>1208</c:v>
                </c:pt>
                <c:pt idx="51">
                  <c:v>1208</c:v>
                </c:pt>
                <c:pt idx="52">
                  <c:v>1208</c:v>
                </c:pt>
                <c:pt idx="53">
                  <c:v>1208</c:v>
                </c:pt>
                <c:pt idx="54">
                  <c:v>1208</c:v>
                </c:pt>
                <c:pt idx="55">
                  <c:v>1208</c:v>
                </c:pt>
                <c:pt idx="56">
                  <c:v>1208</c:v>
                </c:pt>
                <c:pt idx="57">
                  <c:v>1208</c:v>
                </c:pt>
                <c:pt idx="58">
                  <c:v>1208</c:v>
                </c:pt>
                <c:pt idx="59">
                  <c:v>1208</c:v>
                </c:pt>
                <c:pt idx="60">
                  <c:v>12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9E8-4641-AE4B-C0FA008423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200"/>
              <a:t>Vývoj počtu zasažených</a:t>
            </a:r>
            <a:r>
              <a:rPr lang="cs-CZ" sz="1200" baseline="0"/>
              <a:t> zařízení, úmrtí, nakažených klientů a pracovníků v souvislosti s nemocí Covid-19 ve Zlínském kraji</a:t>
            </a:r>
            <a:endParaRPr lang="cs-CZ" sz="120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0461303466493185"/>
          <c:y val="0.11410999168221472"/>
          <c:w val="0.84303114919434174"/>
          <c:h val="0.78147304201205003"/>
        </c:manualLayout>
      </c:layout>
      <c:scatterChart>
        <c:scatterStyle val="lineMarker"/>
        <c:varyColors val="0"/>
        <c:ser>
          <c:idx val="0"/>
          <c:order val="0"/>
          <c:tx>
            <c:strRef>
              <c:f>Tabulky!$B$6</c:f>
              <c:strCache>
                <c:ptCount val="1"/>
                <c:pt idx="0">
                  <c:v>Zařízení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Tabulky!$A$8:$A$180</c:f>
              <c:numCache>
                <c:formatCode>m/d/yyyy</c:formatCode>
                <c:ptCount val="173"/>
                <c:pt idx="0">
                  <c:v>44126</c:v>
                </c:pt>
                <c:pt idx="1">
                  <c:v>44127</c:v>
                </c:pt>
                <c:pt idx="2">
                  <c:v>44128</c:v>
                </c:pt>
                <c:pt idx="3">
                  <c:v>44129</c:v>
                </c:pt>
                <c:pt idx="4">
                  <c:v>44130</c:v>
                </c:pt>
                <c:pt idx="5">
                  <c:v>44131</c:v>
                </c:pt>
                <c:pt idx="6">
                  <c:v>44132</c:v>
                </c:pt>
                <c:pt idx="7">
                  <c:v>44133</c:v>
                </c:pt>
                <c:pt idx="8">
                  <c:v>44134</c:v>
                </c:pt>
                <c:pt idx="9">
                  <c:v>44135</c:v>
                </c:pt>
                <c:pt idx="10">
                  <c:v>44136</c:v>
                </c:pt>
                <c:pt idx="11">
                  <c:v>44137</c:v>
                </c:pt>
                <c:pt idx="12">
                  <c:v>44139</c:v>
                </c:pt>
                <c:pt idx="13">
                  <c:v>44140</c:v>
                </c:pt>
                <c:pt idx="14">
                  <c:v>44141</c:v>
                </c:pt>
                <c:pt idx="15">
                  <c:v>44142</c:v>
                </c:pt>
                <c:pt idx="16">
                  <c:v>44143</c:v>
                </c:pt>
                <c:pt idx="17">
                  <c:v>44144</c:v>
                </c:pt>
                <c:pt idx="18">
                  <c:v>44145</c:v>
                </c:pt>
                <c:pt idx="19">
                  <c:v>44146</c:v>
                </c:pt>
                <c:pt idx="20">
                  <c:v>44147</c:v>
                </c:pt>
                <c:pt idx="21">
                  <c:v>44148</c:v>
                </c:pt>
                <c:pt idx="22">
                  <c:v>44150</c:v>
                </c:pt>
                <c:pt idx="23">
                  <c:v>44151</c:v>
                </c:pt>
                <c:pt idx="24">
                  <c:v>44152</c:v>
                </c:pt>
                <c:pt idx="25">
                  <c:v>44153</c:v>
                </c:pt>
                <c:pt idx="26">
                  <c:v>44154</c:v>
                </c:pt>
                <c:pt idx="27">
                  <c:v>44155</c:v>
                </c:pt>
                <c:pt idx="28">
                  <c:v>44157</c:v>
                </c:pt>
                <c:pt idx="29">
                  <c:v>44158</c:v>
                </c:pt>
                <c:pt idx="30">
                  <c:v>44159</c:v>
                </c:pt>
                <c:pt idx="31">
                  <c:v>44160</c:v>
                </c:pt>
                <c:pt idx="32">
                  <c:v>44161</c:v>
                </c:pt>
                <c:pt idx="33">
                  <c:v>44162</c:v>
                </c:pt>
                <c:pt idx="34">
                  <c:v>44163</c:v>
                </c:pt>
                <c:pt idx="35">
                  <c:v>44164</c:v>
                </c:pt>
                <c:pt idx="36">
                  <c:v>44165</c:v>
                </c:pt>
                <c:pt idx="37">
                  <c:v>44166</c:v>
                </c:pt>
                <c:pt idx="38">
                  <c:v>44167</c:v>
                </c:pt>
                <c:pt idx="39">
                  <c:v>44168</c:v>
                </c:pt>
                <c:pt idx="40">
                  <c:v>44169</c:v>
                </c:pt>
                <c:pt idx="41">
                  <c:v>44172</c:v>
                </c:pt>
                <c:pt idx="42">
                  <c:v>44173</c:v>
                </c:pt>
                <c:pt idx="43">
                  <c:v>44174</c:v>
                </c:pt>
                <c:pt idx="44">
                  <c:v>44175</c:v>
                </c:pt>
                <c:pt idx="45">
                  <c:v>44176</c:v>
                </c:pt>
                <c:pt idx="46">
                  <c:v>44177</c:v>
                </c:pt>
                <c:pt idx="47">
                  <c:v>44178</c:v>
                </c:pt>
                <c:pt idx="48">
                  <c:v>44179</c:v>
                </c:pt>
                <c:pt idx="49">
                  <c:v>44180</c:v>
                </c:pt>
                <c:pt idx="50">
                  <c:v>44181</c:v>
                </c:pt>
                <c:pt idx="51">
                  <c:v>44182</c:v>
                </c:pt>
                <c:pt idx="52">
                  <c:v>44183</c:v>
                </c:pt>
                <c:pt idx="53">
                  <c:v>44184</c:v>
                </c:pt>
                <c:pt idx="54">
                  <c:v>44185</c:v>
                </c:pt>
                <c:pt idx="55">
                  <c:v>44186</c:v>
                </c:pt>
                <c:pt idx="56">
                  <c:v>44187</c:v>
                </c:pt>
                <c:pt idx="57">
                  <c:v>44188</c:v>
                </c:pt>
                <c:pt idx="58">
                  <c:v>44189</c:v>
                </c:pt>
                <c:pt idx="59">
                  <c:v>44190</c:v>
                </c:pt>
                <c:pt idx="60">
                  <c:v>44191</c:v>
                </c:pt>
                <c:pt idx="61">
                  <c:v>44192</c:v>
                </c:pt>
                <c:pt idx="62">
                  <c:v>44193</c:v>
                </c:pt>
                <c:pt idx="63">
                  <c:v>44194</c:v>
                </c:pt>
                <c:pt idx="64">
                  <c:v>44195</c:v>
                </c:pt>
                <c:pt idx="65">
                  <c:v>44196</c:v>
                </c:pt>
                <c:pt idx="66">
                  <c:v>44197</c:v>
                </c:pt>
                <c:pt idx="67">
                  <c:v>44198</c:v>
                </c:pt>
                <c:pt idx="68">
                  <c:v>44199</c:v>
                </c:pt>
                <c:pt idx="69">
                  <c:v>44200</c:v>
                </c:pt>
                <c:pt idx="70">
                  <c:v>44201</c:v>
                </c:pt>
                <c:pt idx="71">
                  <c:v>44202</c:v>
                </c:pt>
                <c:pt idx="72">
                  <c:v>44203</c:v>
                </c:pt>
                <c:pt idx="73">
                  <c:v>44204</c:v>
                </c:pt>
                <c:pt idx="74">
                  <c:v>44205</c:v>
                </c:pt>
                <c:pt idx="75">
                  <c:v>44206</c:v>
                </c:pt>
                <c:pt idx="76">
                  <c:v>44207</c:v>
                </c:pt>
                <c:pt idx="77">
                  <c:v>44209</c:v>
                </c:pt>
                <c:pt idx="78">
                  <c:v>44210</c:v>
                </c:pt>
                <c:pt idx="79">
                  <c:v>44211</c:v>
                </c:pt>
                <c:pt idx="80">
                  <c:v>44212</c:v>
                </c:pt>
                <c:pt idx="81">
                  <c:v>44213</c:v>
                </c:pt>
                <c:pt idx="82">
                  <c:v>44214</c:v>
                </c:pt>
                <c:pt idx="83">
                  <c:v>44215</c:v>
                </c:pt>
                <c:pt idx="84">
                  <c:v>44216</c:v>
                </c:pt>
                <c:pt idx="85">
                  <c:v>44217</c:v>
                </c:pt>
                <c:pt idx="86">
                  <c:v>44218</c:v>
                </c:pt>
                <c:pt idx="87">
                  <c:v>44219</c:v>
                </c:pt>
                <c:pt idx="88">
                  <c:v>44220</c:v>
                </c:pt>
                <c:pt idx="89">
                  <c:v>44221</c:v>
                </c:pt>
                <c:pt idx="90">
                  <c:v>44222</c:v>
                </c:pt>
                <c:pt idx="91">
                  <c:v>44223</c:v>
                </c:pt>
                <c:pt idx="92">
                  <c:v>44224</c:v>
                </c:pt>
                <c:pt idx="93">
                  <c:v>44225</c:v>
                </c:pt>
                <c:pt idx="94">
                  <c:v>44226</c:v>
                </c:pt>
                <c:pt idx="95">
                  <c:v>44227</c:v>
                </c:pt>
                <c:pt idx="96">
                  <c:v>44228</c:v>
                </c:pt>
                <c:pt idx="97">
                  <c:v>44229</c:v>
                </c:pt>
                <c:pt idx="98">
                  <c:v>44230</c:v>
                </c:pt>
                <c:pt idx="99">
                  <c:v>44232</c:v>
                </c:pt>
                <c:pt idx="100">
                  <c:v>44233</c:v>
                </c:pt>
                <c:pt idx="101">
                  <c:v>44234</c:v>
                </c:pt>
                <c:pt idx="102">
                  <c:v>44235</c:v>
                </c:pt>
                <c:pt idx="103">
                  <c:v>44236</c:v>
                </c:pt>
                <c:pt idx="104">
                  <c:v>44237</c:v>
                </c:pt>
                <c:pt idx="105">
                  <c:v>44240</c:v>
                </c:pt>
                <c:pt idx="106">
                  <c:v>44241</c:v>
                </c:pt>
                <c:pt idx="107">
                  <c:v>44242</c:v>
                </c:pt>
                <c:pt idx="108">
                  <c:v>44243</c:v>
                </c:pt>
                <c:pt idx="109">
                  <c:v>44244</c:v>
                </c:pt>
                <c:pt idx="110">
                  <c:v>44245</c:v>
                </c:pt>
                <c:pt idx="111">
                  <c:v>44246</c:v>
                </c:pt>
                <c:pt idx="112">
                  <c:v>44247</c:v>
                </c:pt>
                <c:pt idx="113">
                  <c:v>44248</c:v>
                </c:pt>
                <c:pt idx="114">
                  <c:v>44249</c:v>
                </c:pt>
                <c:pt idx="115">
                  <c:v>44250</c:v>
                </c:pt>
                <c:pt idx="116">
                  <c:v>44251</c:v>
                </c:pt>
                <c:pt idx="117">
                  <c:v>44252</c:v>
                </c:pt>
                <c:pt idx="118">
                  <c:v>44253</c:v>
                </c:pt>
                <c:pt idx="119">
                  <c:v>44254</c:v>
                </c:pt>
                <c:pt idx="120">
                  <c:v>44255</c:v>
                </c:pt>
                <c:pt idx="121">
                  <c:v>44256</c:v>
                </c:pt>
                <c:pt idx="122">
                  <c:v>44257</c:v>
                </c:pt>
                <c:pt idx="123">
                  <c:v>44258</c:v>
                </c:pt>
                <c:pt idx="124">
                  <c:v>44259</c:v>
                </c:pt>
                <c:pt idx="125">
                  <c:v>44260</c:v>
                </c:pt>
                <c:pt idx="126">
                  <c:v>44261</c:v>
                </c:pt>
                <c:pt idx="127">
                  <c:v>44262</c:v>
                </c:pt>
                <c:pt idx="128">
                  <c:v>44263</c:v>
                </c:pt>
                <c:pt idx="129">
                  <c:v>44264</c:v>
                </c:pt>
                <c:pt idx="130">
                  <c:v>44265</c:v>
                </c:pt>
                <c:pt idx="131">
                  <c:v>44266</c:v>
                </c:pt>
                <c:pt idx="132">
                  <c:v>44267</c:v>
                </c:pt>
                <c:pt idx="133">
                  <c:v>44268</c:v>
                </c:pt>
                <c:pt idx="134">
                  <c:v>44269</c:v>
                </c:pt>
                <c:pt idx="135">
                  <c:v>44270</c:v>
                </c:pt>
                <c:pt idx="136">
                  <c:v>44271</c:v>
                </c:pt>
                <c:pt idx="137">
                  <c:v>44272</c:v>
                </c:pt>
                <c:pt idx="138">
                  <c:v>44273</c:v>
                </c:pt>
                <c:pt idx="139">
                  <c:v>44274</c:v>
                </c:pt>
                <c:pt idx="140">
                  <c:v>44275</c:v>
                </c:pt>
                <c:pt idx="141">
                  <c:v>44276</c:v>
                </c:pt>
                <c:pt idx="142">
                  <c:v>44277</c:v>
                </c:pt>
                <c:pt idx="143">
                  <c:v>44278</c:v>
                </c:pt>
                <c:pt idx="144">
                  <c:v>44279</c:v>
                </c:pt>
                <c:pt idx="145">
                  <c:v>44280</c:v>
                </c:pt>
                <c:pt idx="146">
                  <c:v>44281</c:v>
                </c:pt>
                <c:pt idx="147">
                  <c:v>44282</c:v>
                </c:pt>
                <c:pt idx="148">
                  <c:v>44283</c:v>
                </c:pt>
                <c:pt idx="149">
                  <c:v>44284</c:v>
                </c:pt>
                <c:pt idx="150">
                  <c:v>44285</c:v>
                </c:pt>
                <c:pt idx="151">
                  <c:v>44286</c:v>
                </c:pt>
                <c:pt idx="152">
                  <c:v>44287</c:v>
                </c:pt>
                <c:pt idx="153">
                  <c:v>44288</c:v>
                </c:pt>
                <c:pt idx="154">
                  <c:v>44289</c:v>
                </c:pt>
                <c:pt idx="155">
                  <c:v>44290</c:v>
                </c:pt>
                <c:pt idx="156">
                  <c:v>44291</c:v>
                </c:pt>
                <c:pt idx="157">
                  <c:v>44292</c:v>
                </c:pt>
                <c:pt idx="158">
                  <c:v>44293</c:v>
                </c:pt>
                <c:pt idx="159">
                  <c:v>44294</c:v>
                </c:pt>
                <c:pt idx="160">
                  <c:v>44295</c:v>
                </c:pt>
                <c:pt idx="161">
                  <c:v>44296</c:v>
                </c:pt>
                <c:pt idx="162">
                  <c:v>44297</c:v>
                </c:pt>
                <c:pt idx="163">
                  <c:v>44298</c:v>
                </c:pt>
                <c:pt idx="164">
                  <c:v>44299</c:v>
                </c:pt>
                <c:pt idx="165">
                  <c:v>44300</c:v>
                </c:pt>
                <c:pt idx="166">
                  <c:v>44301</c:v>
                </c:pt>
                <c:pt idx="167">
                  <c:v>44302</c:v>
                </c:pt>
                <c:pt idx="168">
                  <c:v>44303</c:v>
                </c:pt>
                <c:pt idx="169">
                  <c:v>44304</c:v>
                </c:pt>
                <c:pt idx="170">
                  <c:v>44305</c:v>
                </c:pt>
                <c:pt idx="171">
                  <c:v>44306</c:v>
                </c:pt>
                <c:pt idx="172">
                  <c:v>44307</c:v>
                </c:pt>
              </c:numCache>
            </c:numRef>
          </c:xVal>
          <c:yVal>
            <c:numRef>
              <c:f>Tabulky!$C$8:$C$180</c:f>
              <c:numCache>
                <c:formatCode>General</c:formatCode>
                <c:ptCount val="173"/>
                <c:pt idx="0">
                  <c:v>42</c:v>
                </c:pt>
                <c:pt idx="1">
                  <c:v>54</c:v>
                </c:pt>
                <c:pt idx="2">
                  <c:v>56</c:v>
                </c:pt>
                <c:pt idx="3">
                  <c:v>59</c:v>
                </c:pt>
                <c:pt idx="4">
                  <c:v>61</c:v>
                </c:pt>
                <c:pt idx="5">
                  <c:v>59</c:v>
                </c:pt>
                <c:pt idx="6">
                  <c:v>60</c:v>
                </c:pt>
                <c:pt idx="7">
                  <c:v>60</c:v>
                </c:pt>
                <c:pt idx="8">
                  <c:v>58</c:v>
                </c:pt>
                <c:pt idx="9">
                  <c:v>60</c:v>
                </c:pt>
                <c:pt idx="10">
                  <c:v>60</c:v>
                </c:pt>
                <c:pt idx="11">
                  <c:v>60</c:v>
                </c:pt>
                <c:pt idx="12">
                  <c:v>64</c:v>
                </c:pt>
                <c:pt idx="13">
                  <c:v>66</c:v>
                </c:pt>
                <c:pt idx="14">
                  <c:v>68</c:v>
                </c:pt>
                <c:pt idx="15">
                  <c:v>69</c:v>
                </c:pt>
                <c:pt idx="16">
                  <c:v>68</c:v>
                </c:pt>
                <c:pt idx="17">
                  <c:v>64</c:v>
                </c:pt>
                <c:pt idx="18">
                  <c:v>65</c:v>
                </c:pt>
                <c:pt idx="19">
                  <c:v>66</c:v>
                </c:pt>
                <c:pt idx="20">
                  <c:v>65</c:v>
                </c:pt>
                <c:pt idx="21">
                  <c:v>68</c:v>
                </c:pt>
                <c:pt idx="22">
                  <c:v>69</c:v>
                </c:pt>
                <c:pt idx="23">
                  <c:v>64</c:v>
                </c:pt>
                <c:pt idx="24">
                  <c:v>70</c:v>
                </c:pt>
                <c:pt idx="25">
                  <c:v>72</c:v>
                </c:pt>
                <c:pt idx="26">
                  <c:v>71</c:v>
                </c:pt>
                <c:pt idx="27">
                  <c:v>71</c:v>
                </c:pt>
                <c:pt idx="28">
                  <c:v>69</c:v>
                </c:pt>
                <c:pt idx="29">
                  <c:v>69</c:v>
                </c:pt>
                <c:pt idx="30">
                  <c:v>68</c:v>
                </c:pt>
                <c:pt idx="31">
                  <c:v>69</c:v>
                </c:pt>
                <c:pt idx="32">
                  <c:v>69</c:v>
                </c:pt>
                <c:pt idx="33">
                  <c:v>68</c:v>
                </c:pt>
                <c:pt idx="34">
                  <c:v>68</c:v>
                </c:pt>
                <c:pt idx="35">
                  <c:v>68</c:v>
                </c:pt>
                <c:pt idx="36">
                  <c:v>68</c:v>
                </c:pt>
                <c:pt idx="37">
                  <c:v>65</c:v>
                </c:pt>
                <c:pt idx="38">
                  <c:v>62</c:v>
                </c:pt>
                <c:pt idx="39">
                  <c:v>61</c:v>
                </c:pt>
                <c:pt idx="40">
                  <c:v>56</c:v>
                </c:pt>
                <c:pt idx="41">
                  <c:v>55</c:v>
                </c:pt>
                <c:pt idx="42">
                  <c:v>58</c:v>
                </c:pt>
                <c:pt idx="43">
                  <c:v>59</c:v>
                </c:pt>
                <c:pt idx="44">
                  <c:v>59</c:v>
                </c:pt>
                <c:pt idx="45">
                  <c:v>58</c:v>
                </c:pt>
                <c:pt idx="46">
                  <c:v>58</c:v>
                </c:pt>
                <c:pt idx="47">
                  <c:v>59</c:v>
                </c:pt>
                <c:pt idx="48">
                  <c:v>60</c:v>
                </c:pt>
                <c:pt idx="49">
                  <c:v>61</c:v>
                </c:pt>
                <c:pt idx="50">
                  <c:v>58</c:v>
                </c:pt>
                <c:pt idx="51">
                  <c:v>59</c:v>
                </c:pt>
                <c:pt idx="52">
                  <c:v>59</c:v>
                </c:pt>
                <c:pt idx="53">
                  <c:v>60</c:v>
                </c:pt>
                <c:pt idx="54">
                  <c:v>60</c:v>
                </c:pt>
                <c:pt idx="55">
                  <c:v>61</c:v>
                </c:pt>
                <c:pt idx="56">
                  <c:v>60</c:v>
                </c:pt>
                <c:pt idx="57">
                  <c:v>60</c:v>
                </c:pt>
                <c:pt idx="58">
                  <c:v>61</c:v>
                </c:pt>
                <c:pt idx="59">
                  <c:v>61</c:v>
                </c:pt>
                <c:pt idx="60">
                  <c:v>61</c:v>
                </c:pt>
                <c:pt idx="61">
                  <c:v>61</c:v>
                </c:pt>
                <c:pt idx="62">
                  <c:v>59</c:v>
                </c:pt>
                <c:pt idx="63">
                  <c:v>62</c:v>
                </c:pt>
                <c:pt idx="64">
                  <c:v>62</c:v>
                </c:pt>
                <c:pt idx="65">
                  <c:v>63</c:v>
                </c:pt>
                <c:pt idx="66">
                  <c:v>63</c:v>
                </c:pt>
                <c:pt idx="67">
                  <c:v>64</c:v>
                </c:pt>
                <c:pt idx="68">
                  <c:v>63</c:v>
                </c:pt>
                <c:pt idx="69">
                  <c:v>63</c:v>
                </c:pt>
                <c:pt idx="70">
                  <c:v>64</c:v>
                </c:pt>
                <c:pt idx="71">
                  <c:v>64</c:v>
                </c:pt>
                <c:pt idx="72">
                  <c:v>66</c:v>
                </c:pt>
                <c:pt idx="73">
                  <c:v>59</c:v>
                </c:pt>
                <c:pt idx="74">
                  <c:v>59</c:v>
                </c:pt>
                <c:pt idx="75">
                  <c:v>59</c:v>
                </c:pt>
                <c:pt idx="76">
                  <c:v>60</c:v>
                </c:pt>
                <c:pt idx="77">
                  <c:v>61</c:v>
                </c:pt>
                <c:pt idx="78">
                  <c:v>61</c:v>
                </c:pt>
                <c:pt idx="79">
                  <c:v>62</c:v>
                </c:pt>
                <c:pt idx="80">
                  <c:v>61</c:v>
                </c:pt>
                <c:pt idx="81">
                  <c:v>61</c:v>
                </c:pt>
                <c:pt idx="82">
                  <c:v>60</c:v>
                </c:pt>
                <c:pt idx="83">
                  <c:v>58</c:v>
                </c:pt>
                <c:pt idx="84">
                  <c:v>58</c:v>
                </c:pt>
                <c:pt idx="85">
                  <c:v>56</c:v>
                </c:pt>
                <c:pt idx="86">
                  <c:v>56</c:v>
                </c:pt>
                <c:pt idx="87">
                  <c:v>56</c:v>
                </c:pt>
                <c:pt idx="88">
                  <c:v>56</c:v>
                </c:pt>
                <c:pt idx="89">
                  <c:v>58</c:v>
                </c:pt>
                <c:pt idx="90">
                  <c:v>58</c:v>
                </c:pt>
                <c:pt idx="91">
                  <c:v>57</c:v>
                </c:pt>
                <c:pt idx="92">
                  <c:v>56</c:v>
                </c:pt>
                <c:pt idx="93">
                  <c:v>49</c:v>
                </c:pt>
                <c:pt idx="94">
                  <c:v>49</c:v>
                </c:pt>
                <c:pt idx="95">
                  <c:v>49</c:v>
                </c:pt>
                <c:pt idx="96">
                  <c:v>44</c:v>
                </c:pt>
                <c:pt idx="97">
                  <c:v>43</c:v>
                </c:pt>
                <c:pt idx="98">
                  <c:v>42</c:v>
                </c:pt>
                <c:pt idx="99">
                  <c:v>40</c:v>
                </c:pt>
                <c:pt idx="100">
                  <c:v>41</c:v>
                </c:pt>
                <c:pt idx="101">
                  <c:v>41</c:v>
                </c:pt>
                <c:pt idx="102">
                  <c:v>42</c:v>
                </c:pt>
                <c:pt idx="103">
                  <c:v>38</c:v>
                </c:pt>
                <c:pt idx="104">
                  <c:v>37</c:v>
                </c:pt>
                <c:pt idx="105">
                  <c:v>38</c:v>
                </c:pt>
                <c:pt idx="106">
                  <c:v>38</c:v>
                </c:pt>
                <c:pt idx="107">
                  <c:v>37</c:v>
                </c:pt>
                <c:pt idx="108">
                  <c:v>36</c:v>
                </c:pt>
                <c:pt idx="109">
                  <c:v>36</c:v>
                </c:pt>
                <c:pt idx="110">
                  <c:v>34</c:v>
                </c:pt>
                <c:pt idx="111">
                  <c:v>33</c:v>
                </c:pt>
                <c:pt idx="112">
                  <c:v>34</c:v>
                </c:pt>
                <c:pt idx="113">
                  <c:v>34</c:v>
                </c:pt>
                <c:pt idx="114">
                  <c:v>32</c:v>
                </c:pt>
                <c:pt idx="115">
                  <c:v>32</c:v>
                </c:pt>
                <c:pt idx="116">
                  <c:v>34</c:v>
                </c:pt>
                <c:pt idx="117">
                  <c:v>34</c:v>
                </c:pt>
                <c:pt idx="118">
                  <c:v>34</c:v>
                </c:pt>
                <c:pt idx="119">
                  <c:v>34</c:v>
                </c:pt>
                <c:pt idx="120">
                  <c:v>34</c:v>
                </c:pt>
                <c:pt idx="121">
                  <c:v>34</c:v>
                </c:pt>
                <c:pt idx="122">
                  <c:v>37</c:v>
                </c:pt>
                <c:pt idx="123">
                  <c:v>37</c:v>
                </c:pt>
                <c:pt idx="124">
                  <c:v>39</c:v>
                </c:pt>
                <c:pt idx="125">
                  <c:v>39</c:v>
                </c:pt>
                <c:pt idx="126">
                  <c:v>38</c:v>
                </c:pt>
                <c:pt idx="127">
                  <c:v>38</c:v>
                </c:pt>
                <c:pt idx="128">
                  <c:v>38</c:v>
                </c:pt>
                <c:pt idx="129">
                  <c:v>36</c:v>
                </c:pt>
                <c:pt idx="130">
                  <c:v>36</c:v>
                </c:pt>
                <c:pt idx="131">
                  <c:v>38</c:v>
                </c:pt>
                <c:pt idx="132">
                  <c:v>38</c:v>
                </c:pt>
                <c:pt idx="133">
                  <c:v>38</c:v>
                </c:pt>
                <c:pt idx="134">
                  <c:v>38</c:v>
                </c:pt>
                <c:pt idx="135">
                  <c:v>39</c:v>
                </c:pt>
                <c:pt idx="136">
                  <c:v>40</c:v>
                </c:pt>
                <c:pt idx="137">
                  <c:v>39</c:v>
                </c:pt>
                <c:pt idx="138">
                  <c:v>37</c:v>
                </c:pt>
                <c:pt idx="139">
                  <c:v>37</c:v>
                </c:pt>
                <c:pt idx="140">
                  <c:v>38</c:v>
                </c:pt>
                <c:pt idx="141">
                  <c:v>38</c:v>
                </c:pt>
                <c:pt idx="142">
                  <c:v>37</c:v>
                </c:pt>
                <c:pt idx="143">
                  <c:v>37</c:v>
                </c:pt>
                <c:pt idx="144">
                  <c:v>37</c:v>
                </c:pt>
                <c:pt idx="145">
                  <c:v>38</c:v>
                </c:pt>
                <c:pt idx="146">
                  <c:v>38</c:v>
                </c:pt>
                <c:pt idx="147">
                  <c:v>39</c:v>
                </c:pt>
                <c:pt idx="148">
                  <c:v>39</c:v>
                </c:pt>
                <c:pt idx="149">
                  <c:v>39</c:v>
                </c:pt>
                <c:pt idx="150">
                  <c:v>40</c:v>
                </c:pt>
                <c:pt idx="151">
                  <c:v>39</c:v>
                </c:pt>
                <c:pt idx="152">
                  <c:v>37</c:v>
                </c:pt>
                <c:pt idx="153">
                  <c:v>36</c:v>
                </c:pt>
                <c:pt idx="154">
                  <c:v>36</c:v>
                </c:pt>
                <c:pt idx="155">
                  <c:v>36</c:v>
                </c:pt>
                <c:pt idx="156">
                  <c:v>35</c:v>
                </c:pt>
                <c:pt idx="157">
                  <c:v>34</c:v>
                </c:pt>
                <c:pt idx="158">
                  <c:v>35</c:v>
                </c:pt>
                <c:pt idx="159">
                  <c:v>34</c:v>
                </c:pt>
                <c:pt idx="160">
                  <c:v>34</c:v>
                </c:pt>
                <c:pt idx="161">
                  <c:v>34</c:v>
                </c:pt>
                <c:pt idx="162">
                  <c:v>34</c:v>
                </c:pt>
                <c:pt idx="163">
                  <c:v>32</c:v>
                </c:pt>
                <c:pt idx="164">
                  <c:v>35</c:v>
                </c:pt>
                <c:pt idx="165">
                  <c:v>35</c:v>
                </c:pt>
                <c:pt idx="166">
                  <c:v>35</c:v>
                </c:pt>
                <c:pt idx="167">
                  <c:v>36</c:v>
                </c:pt>
                <c:pt idx="168">
                  <c:v>36</c:v>
                </c:pt>
                <c:pt idx="169">
                  <c:v>36</c:v>
                </c:pt>
                <c:pt idx="170">
                  <c:v>36</c:v>
                </c:pt>
                <c:pt idx="171">
                  <c:v>3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52A-4622-9012-9D442C2B0335}"/>
            </c:ext>
          </c:extLst>
        </c:ser>
        <c:ser>
          <c:idx val="1"/>
          <c:order val="1"/>
          <c:tx>
            <c:strRef>
              <c:f>Tabulky!$D$6</c:f>
              <c:strCache>
                <c:ptCount val="1"/>
                <c:pt idx="0">
                  <c:v>Klienti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Tabulky!$A$8:$A$180</c:f>
              <c:numCache>
                <c:formatCode>m/d/yyyy</c:formatCode>
                <c:ptCount val="173"/>
                <c:pt idx="0">
                  <c:v>44126</c:v>
                </c:pt>
                <c:pt idx="1">
                  <c:v>44127</c:v>
                </c:pt>
                <c:pt idx="2">
                  <c:v>44128</c:v>
                </c:pt>
                <c:pt idx="3">
                  <c:v>44129</c:v>
                </c:pt>
                <c:pt idx="4">
                  <c:v>44130</c:v>
                </c:pt>
                <c:pt idx="5">
                  <c:v>44131</c:v>
                </c:pt>
                <c:pt idx="6">
                  <c:v>44132</c:v>
                </c:pt>
                <c:pt idx="7">
                  <c:v>44133</c:v>
                </c:pt>
                <c:pt idx="8">
                  <c:v>44134</c:v>
                </c:pt>
                <c:pt idx="9">
                  <c:v>44135</c:v>
                </c:pt>
                <c:pt idx="10">
                  <c:v>44136</c:v>
                </c:pt>
                <c:pt idx="11">
                  <c:v>44137</c:v>
                </c:pt>
                <c:pt idx="12">
                  <c:v>44139</c:v>
                </c:pt>
                <c:pt idx="13">
                  <c:v>44140</c:v>
                </c:pt>
                <c:pt idx="14">
                  <c:v>44141</c:v>
                </c:pt>
                <c:pt idx="15">
                  <c:v>44142</c:v>
                </c:pt>
                <c:pt idx="16">
                  <c:v>44143</c:v>
                </c:pt>
                <c:pt idx="17">
                  <c:v>44144</c:v>
                </c:pt>
                <c:pt idx="18">
                  <c:v>44145</c:v>
                </c:pt>
                <c:pt idx="19">
                  <c:v>44146</c:v>
                </c:pt>
                <c:pt idx="20">
                  <c:v>44147</c:v>
                </c:pt>
                <c:pt idx="21">
                  <c:v>44148</c:v>
                </c:pt>
                <c:pt idx="22">
                  <c:v>44150</c:v>
                </c:pt>
                <c:pt idx="23">
                  <c:v>44151</c:v>
                </c:pt>
                <c:pt idx="24">
                  <c:v>44152</c:v>
                </c:pt>
                <c:pt idx="25">
                  <c:v>44153</c:v>
                </c:pt>
                <c:pt idx="26">
                  <c:v>44154</c:v>
                </c:pt>
                <c:pt idx="27">
                  <c:v>44155</c:v>
                </c:pt>
                <c:pt idx="28">
                  <c:v>44157</c:v>
                </c:pt>
                <c:pt idx="29">
                  <c:v>44158</c:v>
                </c:pt>
                <c:pt idx="30">
                  <c:v>44159</c:v>
                </c:pt>
                <c:pt idx="31">
                  <c:v>44160</c:v>
                </c:pt>
                <c:pt idx="32">
                  <c:v>44161</c:v>
                </c:pt>
                <c:pt idx="33">
                  <c:v>44162</c:v>
                </c:pt>
                <c:pt idx="34">
                  <c:v>44163</c:v>
                </c:pt>
                <c:pt idx="35">
                  <c:v>44164</c:v>
                </c:pt>
                <c:pt idx="36">
                  <c:v>44165</c:v>
                </c:pt>
                <c:pt idx="37">
                  <c:v>44166</c:v>
                </c:pt>
                <c:pt idx="38">
                  <c:v>44167</c:v>
                </c:pt>
                <c:pt idx="39">
                  <c:v>44168</c:v>
                </c:pt>
                <c:pt idx="40">
                  <c:v>44169</c:v>
                </c:pt>
                <c:pt idx="41">
                  <c:v>44172</c:v>
                </c:pt>
                <c:pt idx="42">
                  <c:v>44173</c:v>
                </c:pt>
                <c:pt idx="43">
                  <c:v>44174</c:v>
                </c:pt>
                <c:pt idx="44">
                  <c:v>44175</c:v>
                </c:pt>
                <c:pt idx="45">
                  <c:v>44176</c:v>
                </c:pt>
                <c:pt idx="46">
                  <c:v>44177</c:v>
                </c:pt>
                <c:pt idx="47">
                  <c:v>44178</c:v>
                </c:pt>
                <c:pt idx="48">
                  <c:v>44179</c:v>
                </c:pt>
                <c:pt idx="49">
                  <c:v>44180</c:v>
                </c:pt>
                <c:pt idx="50">
                  <c:v>44181</c:v>
                </c:pt>
                <c:pt idx="51">
                  <c:v>44182</c:v>
                </c:pt>
                <c:pt idx="52">
                  <c:v>44183</c:v>
                </c:pt>
                <c:pt idx="53">
                  <c:v>44184</c:v>
                </c:pt>
                <c:pt idx="54">
                  <c:v>44185</c:v>
                </c:pt>
                <c:pt idx="55">
                  <c:v>44186</c:v>
                </c:pt>
                <c:pt idx="56">
                  <c:v>44187</c:v>
                </c:pt>
                <c:pt idx="57">
                  <c:v>44188</c:v>
                </c:pt>
                <c:pt idx="58">
                  <c:v>44189</c:v>
                </c:pt>
                <c:pt idx="59">
                  <c:v>44190</c:v>
                </c:pt>
                <c:pt idx="60">
                  <c:v>44191</c:v>
                </c:pt>
                <c:pt idx="61">
                  <c:v>44192</c:v>
                </c:pt>
                <c:pt idx="62">
                  <c:v>44193</c:v>
                </c:pt>
                <c:pt idx="63">
                  <c:v>44194</c:v>
                </c:pt>
                <c:pt idx="64">
                  <c:v>44195</c:v>
                </c:pt>
                <c:pt idx="65">
                  <c:v>44196</c:v>
                </c:pt>
                <c:pt idx="66">
                  <c:v>44197</c:v>
                </c:pt>
                <c:pt idx="67">
                  <c:v>44198</c:v>
                </c:pt>
                <c:pt idx="68">
                  <c:v>44199</c:v>
                </c:pt>
                <c:pt idx="69">
                  <c:v>44200</c:v>
                </c:pt>
                <c:pt idx="70">
                  <c:v>44201</c:v>
                </c:pt>
                <c:pt idx="71">
                  <c:v>44202</c:v>
                </c:pt>
                <c:pt idx="72">
                  <c:v>44203</c:v>
                </c:pt>
                <c:pt idx="73">
                  <c:v>44204</c:v>
                </c:pt>
                <c:pt idx="74">
                  <c:v>44205</c:v>
                </c:pt>
                <c:pt idx="75">
                  <c:v>44206</c:v>
                </c:pt>
                <c:pt idx="76">
                  <c:v>44207</c:v>
                </c:pt>
                <c:pt idx="77">
                  <c:v>44209</c:v>
                </c:pt>
                <c:pt idx="78">
                  <c:v>44210</c:v>
                </c:pt>
                <c:pt idx="79">
                  <c:v>44211</c:v>
                </c:pt>
                <c:pt idx="80">
                  <c:v>44212</c:v>
                </c:pt>
                <c:pt idx="81">
                  <c:v>44213</c:v>
                </c:pt>
                <c:pt idx="82">
                  <c:v>44214</c:v>
                </c:pt>
                <c:pt idx="83">
                  <c:v>44215</c:v>
                </c:pt>
                <c:pt idx="84">
                  <c:v>44216</c:v>
                </c:pt>
                <c:pt idx="85">
                  <c:v>44217</c:v>
                </c:pt>
                <c:pt idx="86">
                  <c:v>44218</c:v>
                </c:pt>
                <c:pt idx="87">
                  <c:v>44219</c:v>
                </c:pt>
                <c:pt idx="88">
                  <c:v>44220</c:v>
                </c:pt>
                <c:pt idx="89">
                  <c:v>44221</c:v>
                </c:pt>
                <c:pt idx="90">
                  <c:v>44222</c:v>
                </c:pt>
                <c:pt idx="91">
                  <c:v>44223</c:v>
                </c:pt>
                <c:pt idx="92">
                  <c:v>44224</c:v>
                </c:pt>
                <c:pt idx="93">
                  <c:v>44225</c:v>
                </c:pt>
                <c:pt idx="94">
                  <c:v>44226</c:v>
                </c:pt>
                <c:pt idx="95">
                  <c:v>44227</c:v>
                </c:pt>
                <c:pt idx="96">
                  <c:v>44228</c:v>
                </c:pt>
                <c:pt idx="97">
                  <c:v>44229</c:v>
                </c:pt>
                <c:pt idx="98">
                  <c:v>44230</c:v>
                </c:pt>
                <c:pt idx="99">
                  <c:v>44232</c:v>
                </c:pt>
                <c:pt idx="100">
                  <c:v>44233</c:v>
                </c:pt>
                <c:pt idx="101">
                  <c:v>44234</c:v>
                </c:pt>
                <c:pt idx="102">
                  <c:v>44235</c:v>
                </c:pt>
                <c:pt idx="103">
                  <c:v>44236</c:v>
                </c:pt>
                <c:pt idx="104">
                  <c:v>44237</c:v>
                </c:pt>
                <c:pt idx="105">
                  <c:v>44240</c:v>
                </c:pt>
                <c:pt idx="106">
                  <c:v>44241</c:v>
                </c:pt>
                <c:pt idx="107">
                  <c:v>44242</c:v>
                </c:pt>
                <c:pt idx="108">
                  <c:v>44243</c:v>
                </c:pt>
                <c:pt idx="109">
                  <c:v>44244</c:v>
                </c:pt>
                <c:pt idx="110">
                  <c:v>44245</c:v>
                </c:pt>
                <c:pt idx="111">
                  <c:v>44246</c:v>
                </c:pt>
                <c:pt idx="112">
                  <c:v>44247</c:v>
                </c:pt>
                <c:pt idx="113">
                  <c:v>44248</c:v>
                </c:pt>
                <c:pt idx="114">
                  <c:v>44249</c:v>
                </c:pt>
                <c:pt idx="115">
                  <c:v>44250</c:v>
                </c:pt>
                <c:pt idx="116">
                  <c:v>44251</c:v>
                </c:pt>
                <c:pt idx="117">
                  <c:v>44252</c:v>
                </c:pt>
                <c:pt idx="118">
                  <c:v>44253</c:v>
                </c:pt>
                <c:pt idx="119">
                  <c:v>44254</c:v>
                </c:pt>
                <c:pt idx="120">
                  <c:v>44255</c:v>
                </c:pt>
                <c:pt idx="121">
                  <c:v>44256</c:v>
                </c:pt>
                <c:pt idx="122">
                  <c:v>44257</c:v>
                </c:pt>
                <c:pt idx="123">
                  <c:v>44258</c:v>
                </c:pt>
                <c:pt idx="124">
                  <c:v>44259</c:v>
                </c:pt>
                <c:pt idx="125">
                  <c:v>44260</c:v>
                </c:pt>
                <c:pt idx="126">
                  <c:v>44261</c:v>
                </c:pt>
                <c:pt idx="127">
                  <c:v>44262</c:v>
                </c:pt>
                <c:pt idx="128">
                  <c:v>44263</c:v>
                </c:pt>
                <c:pt idx="129">
                  <c:v>44264</c:v>
                </c:pt>
                <c:pt idx="130">
                  <c:v>44265</c:v>
                </c:pt>
                <c:pt idx="131">
                  <c:v>44266</c:v>
                </c:pt>
                <c:pt idx="132">
                  <c:v>44267</c:v>
                </c:pt>
                <c:pt idx="133">
                  <c:v>44268</c:v>
                </c:pt>
                <c:pt idx="134">
                  <c:v>44269</c:v>
                </c:pt>
                <c:pt idx="135">
                  <c:v>44270</c:v>
                </c:pt>
                <c:pt idx="136">
                  <c:v>44271</c:v>
                </c:pt>
                <c:pt idx="137">
                  <c:v>44272</c:v>
                </c:pt>
                <c:pt idx="138">
                  <c:v>44273</c:v>
                </c:pt>
                <c:pt idx="139">
                  <c:v>44274</c:v>
                </c:pt>
                <c:pt idx="140">
                  <c:v>44275</c:v>
                </c:pt>
                <c:pt idx="141">
                  <c:v>44276</c:v>
                </c:pt>
                <c:pt idx="142">
                  <c:v>44277</c:v>
                </c:pt>
                <c:pt idx="143">
                  <c:v>44278</c:v>
                </c:pt>
                <c:pt idx="144">
                  <c:v>44279</c:v>
                </c:pt>
                <c:pt idx="145">
                  <c:v>44280</c:v>
                </c:pt>
                <c:pt idx="146">
                  <c:v>44281</c:v>
                </c:pt>
                <c:pt idx="147">
                  <c:v>44282</c:v>
                </c:pt>
                <c:pt idx="148">
                  <c:v>44283</c:v>
                </c:pt>
                <c:pt idx="149">
                  <c:v>44284</c:v>
                </c:pt>
                <c:pt idx="150">
                  <c:v>44285</c:v>
                </c:pt>
                <c:pt idx="151">
                  <c:v>44286</c:v>
                </c:pt>
                <c:pt idx="152">
                  <c:v>44287</c:v>
                </c:pt>
                <c:pt idx="153">
                  <c:v>44288</c:v>
                </c:pt>
                <c:pt idx="154">
                  <c:v>44289</c:v>
                </c:pt>
                <c:pt idx="155">
                  <c:v>44290</c:v>
                </c:pt>
                <c:pt idx="156">
                  <c:v>44291</c:v>
                </c:pt>
                <c:pt idx="157">
                  <c:v>44292</c:v>
                </c:pt>
                <c:pt idx="158">
                  <c:v>44293</c:v>
                </c:pt>
                <c:pt idx="159">
                  <c:v>44294</c:v>
                </c:pt>
                <c:pt idx="160">
                  <c:v>44295</c:v>
                </c:pt>
                <c:pt idx="161">
                  <c:v>44296</c:v>
                </c:pt>
                <c:pt idx="162">
                  <c:v>44297</c:v>
                </c:pt>
                <c:pt idx="163">
                  <c:v>44298</c:v>
                </c:pt>
                <c:pt idx="164">
                  <c:v>44299</c:v>
                </c:pt>
                <c:pt idx="165">
                  <c:v>44300</c:v>
                </c:pt>
                <c:pt idx="166">
                  <c:v>44301</c:v>
                </c:pt>
                <c:pt idx="167">
                  <c:v>44302</c:v>
                </c:pt>
                <c:pt idx="168">
                  <c:v>44303</c:v>
                </c:pt>
                <c:pt idx="169">
                  <c:v>44304</c:v>
                </c:pt>
                <c:pt idx="170">
                  <c:v>44305</c:v>
                </c:pt>
                <c:pt idx="171">
                  <c:v>44306</c:v>
                </c:pt>
                <c:pt idx="172">
                  <c:v>44307</c:v>
                </c:pt>
              </c:numCache>
            </c:numRef>
          </c:xVal>
          <c:yVal>
            <c:numRef>
              <c:f>Tabulky!$E$8:$E$180</c:f>
              <c:numCache>
                <c:formatCode>General</c:formatCode>
                <c:ptCount val="173"/>
                <c:pt idx="0">
                  <c:v>61</c:v>
                </c:pt>
                <c:pt idx="1">
                  <c:v>84</c:v>
                </c:pt>
                <c:pt idx="2">
                  <c:v>100</c:v>
                </c:pt>
                <c:pt idx="3">
                  <c:v>103</c:v>
                </c:pt>
                <c:pt idx="4">
                  <c:v>104</c:v>
                </c:pt>
                <c:pt idx="5">
                  <c:v>127</c:v>
                </c:pt>
                <c:pt idx="6">
                  <c:v>145</c:v>
                </c:pt>
                <c:pt idx="7">
                  <c:v>145</c:v>
                </c:pt>
                <c:pt idx="8">
                  <c:v>184</c:v>
                </c:pt>
                <c:pt idx="9">
                  <c:v>185</c:v>
                </c:pt>
                <c:pt idx="10">
                  <c:v>199</c:v>
                </c:pt>
                <c:pt idx="11">
                  <c:v>221</c:v>
                </c:pt>
                <c:pt idx="12">
                  <c:v>244</c:v>
                </c:pt>
                <c:pt idx="13">
                  <c:v>276</c:v>
                </c:pt>
                <c:pt idx="14">
                  <c:v>282</c:v>
                </c:pt>
                <c:pt idx="15">
                  <c:v>299</c:v>
                </c:pt>
                <c:pt idx="16">
                  <c:v>310</c:v>
                </c:pt>
                <c:pt idx="17">
                  <c:v>308</c:v>
                </c:pt>
                <c:pt idx="18">
                  <c:v>300</c:v>
                </c:pt>
                <c:pt idx="19">
                  <c:v>304</c:v>
                </c:pt>
                <c:pt idx="20">
                  <c:v>309</c:v>
                </c:pt>
                <c:pt idx="21">
                  <c:v>319</c:v>
                </c:pt>
                <c:pt idx="22">
                  <c:v>319</c:v>
                </c:pt>
                <c:pt idx="23">
                  <c:v>312</c:v>
                </c:pt>
                <c:pt idx="24">
                  <c:v>331</c:v>
                </c:pt>
                <c:pt idx="25">
                  <c:v>330</c:v>
                </c:pt>
                <c:pt idx="26">
                  <c:v>362</c:v>
                </c:pt>
                <c:pt idx="27">
                  <c:v>347</c:v>
                </c:pt>
                <c:pt idx="28">
                  <c:v>351</c:v>
                </c:pt>
                <c:pt idx="29">
                  <c:v>365</c:v>
                </c:pt>
                <c:pt idx="30">
                  <c:v>380</c:v>
                </c:pt>
                <c:pt idx="31">
                  <c:v>355</c:v>
                </c:pt>
                <c:pt idx="32">
                  <c:v>355</c:v>
                </c:pt>
                <c:pt idx="33">
                  <c:v>360</c:v>
                </c:pt>
                <c:pt idx="34">
                  <c:v>374</c:v>
                </c:pt>
                <c:pt idx="35">
                  <c:v>379</c:v>
                </c:pt>
                <c:pt idx="36">
                  <c:v>373</c:v>
                </c:pt>
                <c:pt idx="37">
                  <c:v>359</c:v>
                </c:pt>
                <c:pt idx="38">
                  <c:v>250</c:v>
                </c:pt>
                <c:pt idx="39">
                  <c:v>237</c:v>
                </c:pt>
                <c:pt idx="40">
                  <c:v>247</c:v>
                </c:pt>
                <c:pt idx="41">
                  <c:v>262</c:v>
                </c:pt>
                <c:pt idx="42">
                  <c:v>251</c:v>
                </c:pt>
                <c:pt idx="43">
                  <c:v>254</c:v>
                </c:pt>
                <c:pt idx="44">
                  <c:v>264</c:v>
                </c:pt>
                <c:pt idx="45">
                  <c:v>236</c:v>
                </c:pt>
                <c:pt idx="46">
                  <c:v>242</c:v>
                </c:pt>
                <c:pt idx="47">
                  <c:v>243</c:v>
                </c:pt>
                <c:pt idx="48">
                  <c:v>249</c:v>
                </c:pt>
                <c:pt idx="49">
                  <c:v>252</c:v>
                </c:pt>
                <c:pt idx="50">
                  <c:v>212</c:v>
                </c:pt>
                <c:pt idx="51">
                  <c:v>210</c:v>
                </c:pt>
                <c:pt idx="52">
                  <c:v>202</c:v>
                </c:pt>
                <c:pt idx="53">
                  <c:v>255</c:v>
                </c:pt>
                <c:pt idx="54">
                  <c:v>263</c:v>
                </c:pt>
                <c:pt idx="55">
                  <c:v>254</c:v>
                </c:pt>
                <c:pt idx="56">
                  <c:v>239</c:v>
                </c:pt>
                <c:pt idx="57">
                  <c:v>236</c:v>
                </c:pt>
                <c:pt idx="58">
                  <c:v>239</c:v>
                </c:pt>
                <c:pt idx="59">
                  <c:v>239</c:v>
                </c:pt>
                <c:pt idx="60">
                  <c:v>295</c:v>
                </c:pt>
                <c:pt idx="61">
                  <c:v>299</c:v>
                </c:pt>
                <c:pt idx="62">
                  <c:v>293</c:v>
                </c:pt>
                <c:pt idx="63">
                  <c:v>241</c:v>
                </c:pt>
                <c:pt idx="64">
                  <c:v>264</c:v>
                </c:pt>
                <c:pt idx="65">
                  <c:v>260</c:v>
                </c:pt>
                <c:pt idx="66">
                  <c:v>261</c:v>
                </c:pt>
                <c:pt idx="67">
                  <c:v>267</c:v>
                </c:pt>
                <c:pt idx="68">
                  <c:v>268</c:v>
                </c:pt>
                <c:pt idx="69">
                  <c:v>280</c:v>
                </c:pt>
                <c:pt idx="70">
                  <c:v>280</c:v>
                </c:pt>
                <c:pt idx="71">
                  <c:v>262</c:v>
                </c:pt>
                <c:pt idx="72">
                  <c:v>264</c:v>
                </c:pt>
                <c:pt idx="73">
                  <c:v>264</c:v>
                </c:pt>
                <c:pt idx="74">
                  <c:v>260</c:v>
                </c:pt>
                <c:pt idx="75">
                  <c:v>270</c:v>
                </c:pt>
                <c:pt idx="76">
                  <c:v>268</c:v>
                </c:pt>
                <c:pt idx="77">
                  <c:v>268</c:v>
                </c:pt>
                <c:pt idx="78">
                  <c:v>275</c:v>
                </c:pt>
                <c:pt idx="79">
                  <c:v>272</c:v>
                </c:pt>
                <c:pt idx="80">
                  <c:v>272</c:v>
                </c:pt>
                <c:pt idx="81">
                  <c:v>274</c:v>
                </c:pt>
                <c:pt idx="82">
                  <c:v>274</c:v>
                </c:pt>
                <c:pt idx="83">
                  <c:v>210</c:v>
                </c:pt>
                <c:pt idx="84">
                  <c:v>201</c:v>
                </c:pt>
                <c:pt idx="85">
                  <c:v>187</c:v>
                </c:pt>
                <c:pt idx="86">
                  <c:v>180</c:v>
                </c:pt>
                <c:pt idx="87">
                  <c:v>177</c:v>
                </c:pt>
                <c:pt idx="88">
                  <c:v>177</c:v>
                </c:pt>
                <c:pt idx="89">
                  <c:v>177</c:v>
                </c:pt>
                <c:pt idx="90">
                  <c:v>157</c:v>
                </c:pt>
                <c:pt idx="91">
                  <c:v>155</c:v>
                </c:pt>
                <c:pt idx="92">
                  <c:v>154</c:v>
                </c:pt>
                <c:pt idx="93">
                  <c:v>46</c:v>
                </c:pt>
                <c:pt idx="94">
                  <c:v>46</c:v>
                </c:pt>
                <c:pt idx="95">
                  <c:v>44</c:v>
                </c:pt>
                <c:pt idx="96">
                  <c:v>34</c:v>
                </c:pt>
                <c:pt idx="97">
                  <c:v>31</c:v>
                </c:pt>
                <c:pt idx="98">
                  <c:v>31</c:v>
                </c:pt>
                <c:pt idx="99">
                  <c:v>30</c:v>
                </c:pt>
                <c:pt idx="100">
                  <c:v>32</c:v>
                </c:pt>
                <c:pt idx="101">
                  <c:v>32</c:v>
                </c:pt>
                <c:pt idx="102">
                  <c:v>33</c:v>
                </c:pt>
                <c:pt idx="103">
                  <c:v>22</c:v>
                </c:pt>
                <c:pt idx="104">
                  <c:v>18</c:v>
                </c:pt>
                <c:pt idx="105">
                  <c:v>17</c:v>
                </c:pt>
                <c:pt idx="106">
                  <c:v>17</c:v>
                </c:pt>
                <c:pt idx="107">
                  <c:v>17</c:v>
                </c:pt>
                <c:pt idx="108">
                  <c:v>18</c:v>
                </c:pt>
                <c:pt idx="109">
                  <c:v>17</c:v>
                </c:pt>
                <c:pt idx="110">
                  <c:v>13</c:v>
                </c:pt>
                <c:pt idx="111">
                  <c:v>14</c:v>
                </c:pt>
                <c:pt idx="112">
                  <c:v>14</c:v>
                </c:pt>
                <c:pt idx="113">
                  <c:v>14</c:v>
                </c:pt>
                <c:pt idx="114">
                  <c:v>15</c:v>
                </c:pt>
                <c:pt idx="115">
                  <c:v>15</c:v>
                </c:pt>
                <c:pt idx="116">
                  <c:v>17</c:v>
                </c:pt>
                <c:pt idx="117">
                  <c:v>17</c:v>
                </c:pt>
                <c:pt idx="118">
                  <c:v>16</c:v>
                </c:pt>
                <c:pt idx="119">
                  <c:v>16</c:v>
                </c:pt>
                <c:pt idx="120">
                  <c:v>16</c:v>
                </c:pt>
                <c:pt idx="121">
                  <c:v>15</c:v>
                </c:pt>
                <c:pt idx="122">
                  <c:v>15</c:v>
                </c:pt>
                <c:pt idx="123">
                  <c:v>15</c:v>
                </c:pt>
                <c:pt idx="124">
                  <c:v>15</c:v>
                </c:pt>
                <c:pt idx="125">
                  <c:v>16</c:v>
                </c:pt>
                <c:pt idx="126">
                  <c:v>15</c:v>
                </c:pt>
                <c:pt idx="127">
                  <c:v>15</c:v>
                </c:pt>
                <c:pt idx="128">
                  <c:v>16</c:v>
                </c:pt>
                <c:pt idx="129">
                  <c:v>15</c:v>
                </c:pt>
                <c:pt idx="130">
                  <c:v>15</c:v>
                </c:pt>
                <c:pt idx="131">
                  <c:v>16</c:v>
                </c:pt>
                <c:pt idx="132">
                  <c:v>22</c:v>
                </c:pt>
                <c:pt idx="133">
                  <c:v>22</c:v>
                </c:pt>
                <c:pt idx="134">
                  <c:v>22</c:v>
                </c:pt>
                <c:pt idx="135">
                  <c:v>21</c:v>
                </c:pt>
                <c:pt idx="136">
                  <c:v>23</c:v>
                </c:pt>
                <c:pt idx="137">
                  <c:v>21</c:v>
                </c:pt>
                <c:pt idx="138">
                  <c:v>21</c:v>
                </c:pt>
                <c:pt idx="139">
                  <c:v>21</c:v>
                </c:pt>
                <c:pt idx="140">
                  <c:v>21</c:v>
                </c:pt>
                <c:pt idx="141">
                  <c:v>21</c:v>
                </c:pt>
                <c:pt idx="142">
                  <c:v>20</c:v>
                </c:pt>
                <c:pt idx="143">
                  <c:v>21</c:v>
                </c:pt>
                <c:pt idx="144">
                  <c:v>14</c:v>
                </c:pt>
                <c:pt idx="145">
                  <c:v>14</c:v>
                </c:pt>
                <c:pt idx="146">
                  <c:v>14</c:v>
                </c:pt>
                <c:pt idx="147">
                  <c:v>14</c:v>
                </c:pt>
                <c:pt idx="148">
                  <c:v>14</c:v>
                </c:pt>
                <c:pt idx="149">
                  <c:v>13</c:v>
                </c:pt>
                <c:pt idx="150">
                  <c:v>13</c:v>
                </c:pt>
                <c:pt idx="151">
                  <c:v>13</c:v>
                </c:pt>
                <c:pt idx="152">
                  <c:v>13</c:v>
                </c:pt>
                <c:pt idx="153">
                  <c:v>13</c:v>
                </c:pt>
                <c:pt idx="154">
                  <c:v>13</c:v>
                </c:pt>
                <c:pt idx="155">
                  <c:v>13</c:v>
                </c:pt>
                <c:pt idx="156">
                  <c:v>13</c:v>
                </c:pt>
                <c:pt idx="157">
                  <c:v>13</c:v>
                </c:pt>
                <c:pt idx="158">
                  <c:v>13</c:v>
                </c:pt>
                <c:pt idx="159">
                  <c:v>12</c:v>
                </c:pt>
                <c:pt idx="160">
                  <c:v>12</c:v>
                </c:pt>
                <c:pt idx="161">
                  <c:v>12</c:v>
                </c:pt>
                <c:pt idx="162">
                  <c:v>12</c:v>
                </c:pt>
                <c:pt idx="163">
                  <c:v>12</c:v>
                </c:pt>
                <c:pt idx="164">
                  <c:v>12</c:v>
                </c:pt>
                <c:pt idx="165">
                  <c:v>14</c:v>
                </c:pt>
                <c:pt idx="166">
                  <c:v>14</c:v>
                </c:pt>
                <c:pt idx="167">
                  <c:v>15</c:v>
                </c:pt>
                <c:pt idx="168">
                  <c:v>16</c:v>
                </c:pt>
                <c:pt idx="169">
                  <c:v>16</c:v>
                </c:pt>
                <c:pt idx="170">
                  <c:v>19</c:v>
                </c:pt>
                <c:pt idx="171">
                  <c:v>1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52A-4622-9012-9D442C2B0335}"/>
            </c:ext>
          </c:extLst>
        </c:ser>
        <c:ser>
          <c:idx val="2"/>
          <c:order val="2"/>
          <c:tx>
            <c:strRef>
              <c:f>Tabulky!$F$6</c:f>
              <c:strCache>
                <c:ptCount val="1"/>
                <c:pt idx="0">
                  <c:v>Pracovníci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xVal>
            <c:numRef>
              <c:f>Tabulky!$A$8:$A$180</c:f>
              <c:numCache>
                <c:formatCode>m/d/yyyy</c:formatCode>
                <c:ptCount val="173"/>
                <c:pt idx="0">
                  <c:v>44126</c:v>
                </c:pt>
                <c:pt idx="1">
                  <c:v>44127</c:v>
                </c:pt>
                <c:pt idx="2">
                  <c:v>44128</c:v>
                </c:pt>
                <c:pt idx="3">
                  <c:v>44129</c:v>
                </c:pt>
                <c:pt idx="4">
                  <c:v>44130</c:v>
                </c:pt>
                <c:pt idx="5">
                  <c:v>44131</c:v>
                </c:pt>
                <c:pt idx="6">
                  <c:v>44132</c:v>
                </c:pt>
                <c:pt idx="7">
                  <c:v>44133</c:v>
                </c:pt>
                <c:pt idx="8">
                  <c:v>44134</c:v>
                </c:pt>
                <c:pt idx="9">
                  <c:v>44135</c:v>
                </c:pt>
                <c:pt idx="10">
                  <c:v>44136</c:v>
                </c:pt>
                <c:pt idx="11">
                  <c:v>44137</c:v>
                </c:pt>
                <c:pt idx="12">
                  <c:v>44139</c:v>
                </c:pt>
                <c:pt idx="13">
                  <c:v>44140</c:v>
                </c:pt>
                <c:pt idx="14">
                  <c:v>44141</c:v>
                </c:pt>
                <c:pt idx="15">
                  <c:v>44142</c:v>
                </c:pt>
                <c:pt idx="16">
                  <c:v>44143</c:v>
                </c:pt>
                <c:pt idx="17">
                  <c:v>44144</c:v>
                </c:pt>
                <c:pt idx="18">
                  <c:v>44145</c:v>
                </c:pt>
                <c:pt idx="19">
                  <c:v>44146</c:v>
                </c:pt>
                <c:pt idx="20">
                  <c:v>44147</c:v>
                </c:pt>
                <c:pt idx="21">
                  <c:v>44148</c:v>
                </c:pt>
                <c:pt idx="22">
                  <c:v>44150</c:v>
                </c:pt>
                <c:pt idx="23">
                  <c:v>44151</c:v>
                </c:pt>
                <c:pt idx="24">
                  <c:v>44152</c:v>
                </c:pt>
                <c:pt idx="25">
                  <c:v>44153</c:v>
                </c:pt>
                <c:pt idx="26">
                  <c:v>44154</c:v>
                </c:pt>
                <c:pt idx="27">
                  <c:v>44155</c:v>
                </c:pt>
                <c:pt idx="28">
                  <c:v>44157</c:v>
                </c:pt>
                <c:pt idx="29">
                  <c:v>44158</c:v>
                </c:pt>
                <c:pt idx="30">
                  <c:v>44159</c:v>
                </c:pt>
                <c:pt idx="31">
                  <c:v>44160</c:v>
                </c:pt>
                <c:pt idx="32">
                  <c:v>44161</c:v>
                </c:pt>
                <c:pt idx="33">
                  <c:v>44162</c:v>
                </c:pt>
                <c:pt idx="34">
                  <c:v>44163</c:v>
                </c:pt>
                <c:pt idx="35">
                  <c:v>44164</c:v>
                </c:pt>
                <c:pt idx="36">
                  <c:v>44165</c:v>
                </c:pt>
                <c:pt idx="37">
                  <c:v>44166</c:v>
                </c:pt>
                <c:pt idx="38">
                  <c:v>44167</c:v>
                </c:pt>
                <c:pt idx="39">
                  <c:v>44168</c:v>
                </c:pt>
                <c:pt idx="40">
                  <c:v>44169</c:v>
                </c:pt>
                <c:pt idx="41">
                  <c:v>44172</c:v>
                </c:pt>
                <c:pt idx="42">
                  <c:v>44173</c:v>
                </c:pt>
                <c:pt idx="43">
                  <c:v>44174</c:v>
                </c:pt>
                <c:pt idx="44">
                  <c:v>44175</c:v>
                </c:pt>
                <c:pt idx="45">
                  <c:v>44176</c:v>
                </c:pt>
                <c:pt idx="46">
                  <c:v>44177</c:v>
                </c:pt>
                <c:pt idx="47">
                  <c:v>44178</c:v>
                </c:pt>
                <c:pt idx="48">
                  <c:v>44179</c:v>
                </c:pt>
                <c:pt idx="49">
                  <c:v>44180</c:v>
                </c:pt>
                <c:pt idx="50">
                  <c:v>44181</c:v>
                </c:pt>
                <c:pt idx="51">
                  <c:v>44182</c:v>
                </c:pt>
                <c:pt idx="52">
                  <c:v>44183</c:v>
                </c:pt>
                <c:pt idx="53">
                  <c:v>44184</c:v>
                </c:pt>
                <c:pt idx="54">
                  <c:v>44185</c:v>
                </c:pt>
                <c:pt idx="55">
                  <c:v>44186</c:v>
                </c:pt>
                <c:pt idx="56">
                  <c:v>44187</c:v>
                </c:pt>
                <c:pt idx="57">
                  <c:v>44188</c:v>
                </c:pt>
                <c:pt idx="58">
                  <c:v>44189</c:v>
                </c:pt>
                <c:pt idx="59">
                  <c:v>44190</c:v>
                </c:pt>
                <c:pt idx="60">
                  <c:v>44191</c:v>
                </c:pt>
                <c:pt idx="61">
                  <c:v>44192</c:v>
                </c:pt>
                <c:pt idx="62">
                  <c:v>44193</c:v>
                </c:pt>
                <c:pt idx="63">
                  <c:v>44194</c:v>
                </c:pt>
                <c:pt idx="64">
                  <c:v>44195</c:v>
                </c:pt>
                <c:pt idx="65">
                  <c:v>44196</c:v>
                </c:pt>
                <c:pt idx="66">
                  <c:v>44197</c:v>
                </c:pt>
                <c:pt idx="67">
                  <c:v>44198</c:v>
                </c:pt>
                <c:pt idx="68">
                  <c:v>44199</c:v>
                </c:pt>
                <c:pt idx="69">
                  <c:v>44200</c:v>
                </c:pt>
                <c:pt idx="70">
                  <c:v>44201</c:v>
                </c:pt>
                <c:pt idx="71">
                  <c:v>44202</c:v>
                </c:pt>
                <c:pt idx="72">
                  <c:v>44203</c:v>
                </c:pt>
                <c:pt idx="73">
                  <c:v>44204</c:v>
                </c:pt>
                <c:pt idx="74">
                  <c:v>44205</c:v>
                </c:pt>
                <c:pt idx="75">
                  <c:v>44206</c:v>
                </c:pt>
                <c:pt idx="76">
                  <c:v>44207</c:v>
                </c:pt>
                <c:pt idx="77">
                  <c:v>44209</c:v>
                </c:pt>
                <c:pt idx="78">
                  <c:v>44210</c:v>
                </c:pt>
                <c:pt idx="79">
                  <c:v>44211</c:v>
                </c:pt>
                <c:pt idx="80">
                  <c:v>44212</c:v>
                </c:pt>
                <c:pt idx="81">
                  <c:v>44213</c:v>
                </c:pt>
                <c:pt idx="82">
                  <c:v>44214</c:v>
                </c:pt>
                <c:pt idx="83">
                  <c:v>44215</c:v>
                </c:pt>
                <c:pt idx="84">
                  <c:v>44216</c:v>
                </c:pt>
                <c:pt idx="85">
                  <c:v>44217</c:v>
                </c:pt>
                <c:pt idx="86">
                  <c:v>44218</c:v>
                </c:pt>
                <c:pt idx="87">
                  <c:v>44219</c:v>
                </c:pt>
                <c:pt idx="88">
                  <c:v>44220</c:v>
                </c:pt>
                <c:pt idx="89">
                  <c:v>44221</c:v>
                </c:pt>
                <c:pt idx="90">
                  <c:v>44222</c:v>
                </c:pt>
                <c:pt idx="91">
                  <c:v>44223</c:v>
                </c:pt>
                <c:pt idx="92">
                  <c:v>44224</c:v>
                </c:pt>
                <c:pt idx="93">
                  <c:v>44225</c:v>
                </c:pt>
                <c:pt idx="94">
                  <c:v>44226</c:v>
                </c:pt>
                <c:pt idx="95">
                  <c:v>44227</c:v>
                </c:pt>
                <c:pt idx="96">
                  <c:v>44228</c:v>
                </c:pt>
                <c:pt idx="97">
                  <c:v>44229</c:v>
                </c:pt>
                <c:pt idx="98">
                  <c:v>44230</c:v>
                </c:pt>
                <c:pt idx="99">
                  <c:v>44232</c:v>
                </c:pt>
                <c:pt idx="100">
                  <c:v>44233</c:v>
                </c:pt>
                <c:pt idx="101">
                  <c:v>44234</c:v>
                </c:pt>
                <c:pt idx="102">
                  <c:v>44235</c:v>
                </c:pt>
                <c:pt idx="103">
                  <c:v>44236</c:v>
                </c:pt>
                <c:pt idx="104">
                  <c:v>44237</c:v>
                </c:pt>
                <c:pt idx="105">
                  <c:v>44240</c:v>
                </c:pt>
                <c:pt idx="106">
                  <c:v>44241</c:v>
                </c:pt>
                <c:pt idx="107">
                  <c:v>44242</c:v>
                </c:pt>
                <c:pt idx="108">
                  <c:v>44243</c:v>
                </c:pt>
                <c:pt idx="109">
                  <c:v>44244</c:v>
                </c:pt>
                <c:pt idx="110">
                  <c:v>44245</c:v>
                </c:pt>
                <c:pt idx="111">
                  <c:v>44246</c:v>
                </c:pt>
                <c:pt idx="112">
                  <c:v>44247</c:v>
                </c:pt>
                <c:pt idx="113">
                  <c:v>44248</c:v>
                </c:pt>
                <c:pt idx="114">
                  <c:v>44249</c:v>
                </c:pt>
                <c:pt idx="115">
                  <c:v>44250</c:v>
                </c:pt>
                <c:pt idx="116">
                  <c:v>44251</c:v>
                </c:pt>
                <c:pt idx="117">
                  <c:v>44252</c:v>
                </c:pt>
                <c:pt idx="118">
                  <c:v>44253</c:v>
                </c:pt>
                <c:pt idx="119">
                  <c:v>44254</c:v>
                </c:pt>
                <c:pt idx="120">
                  <c:v>44255</c:v>
                </c:pt>
                <c:pt idx="121">
                  <c:v>44256</c:v>
                </c:pt>
                <c:pt idx="122">
                  <c:v>44257</c:v>
                </c:pt>
                <c:pt idx="123">
                  <c:v>44258</c:v>
                </c:pt>
                <c:pt idx="124">
                  <c:v>44259</c:v>
                </c:pt>
                <c:pt idx="125">
                  <c:v>44260</c:v>
                </c:pt>
                <c:pt idx="126">
                  <c:v>44261</c:v>
                </c:pt>
                <c:pt idx="127">
                  <c:v>44262</c:v>
                </c:pt>
                <c:pt idx="128">
                  <c:v>44263</c:v>
                </c:pt>
                <c:pt idx="129">
                  <c:v>44264</c:v>
                </c:pt>
                <c:pt idx="130">
                  <c:v>44265</c:v>
                </c:pt>
                <c:pt idx="131">
                  <c:v>44266</c:v>
                </c:pt>
                <c:pt idx="132">
                  <c:v>44267</c:v>
                </c:pt>
                <c:pt idx="133">
                  <c:v>44268</c:v>
                </c:pt>
                <c:pt idx="134">
                  <c:v>44269</c:v>
                </c:pt>
                <c:pt idx="135">
                  <c:v>44270</c:v>
                </c:pt>
                <c:pt idx="136">
                  <c:v>44271</c:v>
                </c:pt>
                <c:pt idx="137">
                  <c:v>44272</c:v>
                </c:pt>
                <c:pt idx="138">
                  <c:v>44273</c:v>
                </c:pt>
                <c:pt idx="139">
                  <c:v>44274</c:v>
                </c:pt>
                <c:pt idx="140">
                  <c:v>44275</c:v>
                </c:pt>
                <c:pt idx="141">
                  <c:v>44276</c:v>
                </c:pt>
                <c:pt idx="142">
                  <c:v>44277</c:v>
                </c:pt>
                <c:pt idx="143">
                  <c:v>44278</c:v>
                </c:pt>
                <c:pt idx="144">
                  <c:v>44279</c:v>
                </c:pt>
                <c:pt idx="145">
                  <c:v>44280</c:v>
                </c:pt>
                <c:pt idx="146">
                  <c:v>44281</c:v>
                </c:pt>
                <c:pt idx="147">
                  <c:v>44282</c:v>
                </c:pt>
                <c:pt idx="148">
                  <c:v>44283</c:v>
                </c:pt>
                <c:pt idx="149">
                  <c:v>44284</c:v>
                </c:pt>
                <c:pt idx="150">
                  <c:v>44285</c:v>
                </c:pt>
                <c:pt idx="151">
                  <c:v>44286</c:v>
                </c:pt>
                <c:pt idx="152">
                  <c:v>44287</c:v>
                </c:pt>
                <c:pt idx="153">
                  <c:v>44288</c:v>
                </c:pt>
                <c:pt idx="154">
                  <c:v>44289</c:v>
                </c:pt>
                <c:pt idx="155">
                  <c:v>44290</c:v>
                </c:pt>
                <c:pt idx="156">
                  <c:v>44291</c:v>
                </c:pt>
                <c:pt idx="157">
                  <c:v>44292</c:v>
                </c:pt>
                <c:pt idx="158">
                  <c:v>44293</c:v>
                </c:pt>
                <c:pt idx="159">
                  <c:v>44294</c:v>
                </c:pt>
                <c:pt idx="160">
                  <c:v>44295</c:v>
                </c:pt>
                <c:pt idx="161">
                  <c:v>44296</c:v>
                </c:pt>
                <c:pt idx="162">
                  <c:v>44297</c:v>
                </c:pt>
                <c:pt idx="163">
                  <c:v>44298</c:v>
                </c:pt>
                <c:pt idx="164">
                  <c:v>44299</c:v>
                </c:pt>
                <c:pt idx="165">
                  <c:v>44300</c:v>
                </c:pt>
                <c:pt idx="166">
                  <c:v>44301</c:v>
                </c:pt>
                <c:pt idx="167">
                  <c:v>44302</c:v>
                </c:pt>
                <c:pt idx="168">
                  <c:v>44303</c:v>
                </c:pt>
                <c:pt idx="169">
                  <c:v>44304</c:v>
                </c:pt>
                <c:pt idx="170">
                  <c:v>44305</c:v>
                </c:pt>
                <c:pt idx="171">
                  <c:v>44306</c:v>
                </c:pt>
                <c:pt idx="172">
                  <c:v>44307</c:v>
                </c:pt>
              </c:numCache>
            </c:numRef>
          </c:xVal>
          <c:yVal>
            <c:numRef>
              <c:f>Tabulky!$G$8:$G$180</c:f>
              <c:numCache>
                <c:formatCode>General</c:formatCode>
                <c:ptCount val="173"/>
                <c:pt idx="0">
                  <c:v>110</c:v>
                </c:pt>
                <c:pt idx="1">
                  <c:v>107</c:v>
                </c:pt>
                <c:pt idx="2">
                  <c:v>132</c:v>
                </c:pt>
                <c:pt idx="3">
                  <c:v>143</c:v>
                </c:pt>
                <c:pt idx="4">
                  <c:v>145</c:v>
                </c:pt>
                <c:pt idx="5">
                  <c:v>154</c:v>
                </c:pt>
                <c:pt idx="6">
                  <c:v>166</c:v>
                </c:pt>
                <c:pt idx="7">
                  <c:v>181</c:v>
                </c:pt>
                <c:pt idx="8">
                  <c:v>198</c:v>
                </c:pt>
                <c:pt idx="9">
                  <c:v>214</c:v>
                </c:pt>
                <c:pt idx="10">
                  <c:v>229</c:v>
                </c:pt>
                <c:pt idx="11">
                  <c:v>237</c:v>
                </c:pt>
                <c:pt idx="12">
                  <c:v>238</c:v>
                </c:pt>
                <c:pt idx="13">
                  <c:v>257</c:v>
                </c:pt>
                <c:pt idx="14">
                  <c:v>270</c:v>
                </c:pt>
                <c:pt idx="15">
                  <c:v>278</c:v>
                </c:pt>
                <c:pt idx="16">
                  <c:v>275</c:v>
                </c:pt>
                <c:pt idx="17">
                  <c:v>265</c:v>
                </c:pt>
                <c:pt idx="18">
                  <c:v>250</c:v>
                </c:pt>
                <c:pt idx="19">
                  <c:v>259</c:v>
                </c:pt>
                <c:pt idx="20">
                  <c:v>263</c:v>
                </c:pt>
                <c:pt idx="21">
                  <c:v>267</c:v>
                </c:pt>
                <c:pt idx="22">
                  <c:v>267</c:v>
                </c:pt>
                <c:pt idx="23">
                  <c:v>273</c:v>
                </c:pt>
                <c:pt idx="24">
                  <c:v>267</c:v>
                </c:pt>
                <c:pt idx="25">
                  <c:v>269</c:v>
                </c:pt>
                <c:pt idx="26">
                  <c:v>273</c:v>
                </c:pt>
                <c:pt idx="27">
                  <c:v>279</c:v>
                </c:pt>
                <c:pt idx="28">
                  <c:v>289</c:v>
                </c:pt>
                <c:pt idx="29">
                  <c:v>288</c:v>
                </c:pt>
                <c:pt idx="30">
                  <c:v>289</c:v>
                </c:pt>
                <c:pt idx="31">
                  <c:v>298</c:v>
                </c:pt>
                <c:pt idx="32">
                  <c:v>295</c:v>
                </c:pt>
                <c:pt idx="33">
                  <c:v>291</c:v>
                </c:pt>
                <c:pt idx="34">
                  <c:v>294</c:v>
                </c:pt>
                <c:pt idx="35">
                  <c:v>289</c:v>
                </c:pt>
                <c:pt idx="36">
                  <c:v>276</c:v>
                </c:pt>
                <c:pt idx="37">
                  <c:v>262</c:v>
                </c:pt>
                <c:pt idx="38">
                  <c:v>210</c:v>
                </c:pt>
                <c:pt idx="39">
                  <c:v>203</c:v>
                </c:pt>
                <c:pt idx="40">
                  <c:v>181</c:v>
                </c:pt>
                <c:pt idx="41">
                  <c:v>186</c:v>
                </c:pt>
                <c:pt idx="42">
                  <c:v>185</c:v>
                </c:pt>
                <c:pt idx="43">
                  <c:v>188</c:v>
                </c:pt>
                <c:pt idx="44">
                  <c:v>192</c:v>
                </c:pt>
                <c:pt idx="45">
                  <c:v>193</c:v>
                </c:pt>
                <c:pt idx="46">
                  <c:v>195</c:v>
                </c:pt>
                <c:pt idx="47">
                  <c:v>193</c:v>
                </c:pt>
                <c:pt idx="48">
                  <c:v>203</c:v>
                </c:pt>
                <c:pt idx="49">
                  <c:v>191</c:v>
                </c:pt>
                <c:pt idx="50">
                  <c:v>170</c:v>
                </c:pt>
                <c:pt idx="51">
                  <c:v>174</c:v>
                </c:pt>
                <c:pt idx="52">
                  <c:v>178</c:v>
                </c:pt>
                <c:pt idx="53">
                  <c:v>182</c:v>
                </c:pt>
                <c:pt idx="54">
                  <c:v>185</c:v>
                </c:pt>
                <c:pt idx="55">
                  <c:v>184</c:v>
                </c:pt>
                <c:pt idx="56">
                  <c:v>180</c:v>
                </c:pt>
                <c:pt idx="57">
                  <c:v>178</c:v>
                </c:pt>
                <c:pt idx="58">
                  <c:v>184</c:v>
                </c:pt>
                <c:pt idx="59">
                  <c:v>186</c:v>
                </c:pt>
                <c:pt idx="60">
                  <c:v>185</c:v>
                </c:pt>
                <c:pt idx="61">
                  <c:v>182</c:v>
                </c:pt>
                <c:pt idx="62">
                  <c:v>179</c:v>
                </c:pt>
                <c:pt idx="63">
                  <c:v>187</c:v>
                </c:pt>
                <c:pt idx="64">
                  <c:v>195</c:v>
                </c:pt>
                <c:pt idx="65">
                  <c:v>193</c:v>
                </c:pt>
                <c:pt idx="66">
                  <c:v>192</c:v>
                </c:pt>
                <c:pt idx="67">
                  <c:v>195</c:v>
                </c:pt>
                <c:pt idx="68">
                  <c:v>194</c:v>
                </c:pt>
                <c:pt idx="69">
                  <c:v>186</c:v>
                </c:pt>
                <c:pt idx="70">
                  <c:v>187</c:v>
                </c:pt>
                <c:pt idx="71">
                  <c:v>199</c:v>
                </c:pt>
                <c:pt idx="72">
                  <c:v>209</c:v>
                </c:pt>
                <c:pt idx="73">
                  <c:v>192</c:v>
                </c:pt>
                <c:pt idx="74">
                  <c:v>191</c:v>
                </c:pt>
                <c:pt idx="75">
                  <c:v>191</c:v>
                </c:pt>
                <c:pt idx="76">
                  <c:v>190</c:v>
                </c:pt>
                <c:pt idx="77">
                  <c:v>196</c:v>
                </c:pt>
                <c:pt idx="78">
                  <c:v>197</c:v>
                </c:pt>
                <c:pt idx="79">
                  <c:v>197</c:v>
                </c:pt>
                <c:pt idx="80">
                  <c:v>192</c:v>
                </c:pt>
                <c:pt idx="81">
                  <c:v>192</c:v>
                </c:pt>
                <c:pt idx="82">
                  <c:v>189</c:v>
                </c:pt>
                <c:pt idx="83">
                  <c:v>191</c:v>
                </c:pt>
                <c:pt idx="84">
                  <c:v>196</c:v>
                </c:pt>
                <c:pt idx="85">
                  <c:v>164</c:v>
                </c:pt>
                <c:pt idx="86">
                  <c:v>163</c:v>
                </c:pt>
                <c:pt idx="87">
                  <c:v>165</c:v>
                </c:pt>
                <c:pt idx="88">
                  <c:v>164</c:v>
                </c:pt>
                <c:pt idx="89">
                  <c:v>165</c:v>
                </c:pt>
                <c:pt idx="90">
                  <c:v>160</c:v>
                </c:pt>
                <c:pt idx="91">
                  <c:v>161</c:v>
                </c:pt>
                <c:pt idx="92">
                  <c:v>158</c:v>
                </c:pt>
                <c:pt idx="93">
                  <c:v>96</c:v>
                </c:pt>
                <c:pt idx="94">
                  <c:v>96</c:v>
                </c:pt>
                <c:pt idx="95">
                  <c:v>94</c:v>
                </c:pt>
                <c:pt idx="96">
                  <c:v>71</c:v>
                </c:pt>
                <c:pt idx="97">
                  <c:v>66</c:v>
                </c:pt>
                <c:pt idx="98">
                  <c:v>67</c:v>
                </c:pt>
                <c:pt idx="99">
                  <c:v>68</c:v>
                </c:pt>
                <c:pt idx="100">
                  <c:v>70</c:v>
                </c:pt>
                <c:pt idx="101">
                  <c:v>69</c:v>
                </c:pt>
                <c:pt idx="102">
                  <c:v>68</c:v>
                </c:pt>
                <c:pt idx="103">
                  <c:v>62</c:v>
                </c:pt>
                <c:pt idx="104">
                  <c:v>56</c:v>
                </c:pt>
                <c:pt idx="105">
                  <c:v>57</c:v>
                </c:pt>
                <c:pt idx="106">
                  <c:v>57</c:v>
                </c:pt>
                <c:pt idx="107">
                  <c:v>54</c:v>
                </c:pt>
                <c:pt idx="108">
                  <c:v>50</c:v>
                </c:pt>
                <c:pt idx="109">
                  <c:v>50</c:v>
                </c:pt>
                <c:pt idx="110">
                  <c:v>43</c:v>
                </c:pt>
                <c:pt idx="111">
                  <c:v>39</c:v>
                </c:pt>
                <c:pt idx="112">
                  <c:v>40</c:v>
                </c:pt>
                <c:pt idx="113">
                  <c:v>40</c:v>
                </c:pt>
                <c:pt idx="114">
                  <c:v>38</c:v>
                </c:pt>
                <c:pt idx="115">
                  <c:v>38</c:v>
                </c:pt>
                <c:pt idx="116">
                  <c:v>39</c:v>
                </c:pt>
                <c:pt idx="117">
                  <c:v>40</c:v>
                </c:pt>
                <c:pt idx="118">
                  <c:v>38</c:v>
                </c:pt>
                <c:pt idx="119">
                  <c:v>38</c:v>
                </c:pt>
                <c:pt idx="120">
                  <c:v>38</c:v>
                </c:pt>
                <c:pt idx="121">
                  <c:v>36</c:v>
                </c:pt>
                <c:pt idx="122">
                  <c:v>39</c:v>
                </c:pt>
                <c:pt idx="123">
                  <c:v>39</c:v>
                </c:pt>
                <c:pt idx="124">
                  <c:v>42</c:v>
                </c:pt>
                <c:pt idx="125">
                  <c:v>44</c:v>
                </c:pt>
                <c:pt idx="126">
                  <c:v>44</c:v>
                </c:pt>
                <c:pt idx="127">
                  <c:v>44</c:v>
                </c:pt>
                <c:pt idx="128">
                  <c:v>44</c:v>
                </c:pt>
                <c:pt idx="129">
                  <c:v>43</c:v>
                </c:pt>
                <c:pt idx="130">
                  <c:v>43</c:v>
                </c:pt>
                <c:pt idx="131">
                  <c:v>46</c:v>
                </c:pt>
                <c:pt idx="132">
                  <c:v>47</c:v>
                </c:pt>
                <c:pt idx="133">
                  <c:v>47</c:v>
                </c:pt>
                <c:pt idx="134">
                  <c:v>47</c:v>
                </c:pt>
                <c:pt idx="135">
                  <c:v>45</c:v>
                </c:pt>
                <c:pt idx="136">
                  <c:v>46</c:v>
                </c:pt>
                <c:pt idx="137">
                  <c:v>43</c:v>
                </c:pt>
                <c:pt idx="138">
                  <c:v>39</c:v>
                </c:pt>
                <c:pt idx="139">
                  <c:v>40</c:v>
                </c:pt>
                <c:pt idx="140">
                  <c:v>40</c:v>
                </c:pt>
                <c:pt idx="141">
                  <c:v>40</c:v>
                </c:pt>
                <c:pt idx="142">
                  <c:v>40</c:v>
                </c:pt>
                <c:pt idx="143">
                  <c:v>42</c:v>
                </c:pt>
                <c:pt idx="144">
                  <c:v>39</c:v>
                </c:pt>
                <c:pt idx="145">
                  <c:v>39</c:v>
                </c:pt>
                <c:pt idx="146">
                  <c:v>39</c:v>
                </c:pt>
                <c:pt idx="147">
                  <c:v>39</c:v>
                </c:pt>
                <c:pt idx="148">
                  <c:v>39</c:v>
                </c:pt>
                <c:pt idx="149">
                  <c:v>37</c:v>
                </c:pt>
                <c:pt idx="150">
                  <c:v>37</c:v>
                </c:pt>
                <c:pt idx="151">
                  <c:v>36</c:v>
                </c:pt>
                <c:pt idx="152">
                  <c:v>30</c:v>
                </c:pt>
                <c:pt idx="153">
                  <c:v>30</c:v>
                </c:pt>
                <c:pt idx="154">
                  <c:v>30</c:v>
                </c:pt>
                <c:pt idx="155">
                  <c:v>30</c:v>
                </c:pt>
                <c:pt idx="156">
                  <c:v>31</c:v>
                </c:pt>
                <c:pt idx="157">
                  <c:v>31</c:v>
                </c:pt>
                <c:pt idx="158">
                  <c:v>30</c:v>
                </c:pt>
                <c:pt idx="159">
                  <c:v>29</c:v>
                </c:pt>
                <c:pt idx="160">
                  <c:v>29</c:v>
                </c:pt>
                <c:pt idx="161">
                  <c:v>31</c:v>
                </c:pt>
                <c:pt idx="162">
                  <c:v>31</c:v>
                </c:pt>
                <c:pt idx="163">
                  <c:v>31</c:v>
                </c:pt>
                <c:pt idx="164">
                  <c:v>31</c:v>
                </c:pt>
                <c:pt idx="165">
                  <c:v>32</c:v>
                </c:pt>
                <c:pt idx="166">
                  <c:v>32</c:v>
                </c:pt>
                <c:pt idx="167">
                  <c:v>33</c:v>
                </c:pt>
                <c:pt idx="168">
                  <c:v>33</c:v>
                </c:pt>
                <c:pt idx="169">
                  <c:v>33</c:v>
                </c:pt>
                <c:pt idx="170">
                  <c:v>32</c:v>
                </c:pt>
                <c:pt idx="171">
                  <c:v>3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52A-4622-9012-9D442C2B0335}"/>
            </c:ext>
          </c:extLst>
        </c:ser>
        <c:ser>
          <c:idx val="3"/>
          <c:order val="3"/>
          <c:tx>
            <c:strRef>
              <c:f>Tabulky!$H$6</c:f>
              <c:strCache>
                <c:ptCount val="1"/>
                <c:pt idx="0">
                  <c:v>Úmrtí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xVal>
            <c:numRef>
              <c:f>Tabulky!$A$8:$A$180</c:f>
              <c:numCache>
                <c:formatCode>m/d/yyyy</c:formatCode>
                <c:ptCount val="173"/>
                <c:pt idx="0">
                  <c:v>44126</c:v>
                </c:pt>
                <c:pt idx="1">
                  <c:v>44127</c:v>
                </c:pt>
                <c:pt idx="2">
                  <c:v>44128</c:v>
                </c:pt>
                <c:pt idx="3">
                  <c:v>44129</c:v>
                </c:pt>
                <c:pt idx="4">
                  <c:v>44130</c:v>
                </c:pt>
                <c:pt idx="5">
                  <c:v>44131</c:v>
                </c:pt>
                <c:pt idx="6">
                  <c:v>44132</c:v>
                </c:pt>
                <c:pt idx="7">
                  <c:v>44133</c:v>
                </c:pt>
                <c:pt idx="8">
                  <c:v>44134</c:v>
                </c:pt>
                <c:pt idx="9">
                  <c:v>44135</c:v>
                </c:pt>
                <c:pt idx="10">
                  <c:v>44136</c:v>
                </c:pt>
                <c:pt idx="11">
                  <c:v>44137</c:v>
                </c:pt>
                <c:pt idx="12">
                  <c:v>44139</c:v>
                </c:pt>
                <c:pt idx="13">
                  <c:v>44140</c:v>
                </c:pt>
                <c:pt idx="14">
                  <c:v>44141</c:v>
                </c:pt>
                <c:pt idx="15">
                  <c:v>44142</c:v>
                </c:pt>
                <c:pt idx="16">
                  <c:v>44143</c:v>
                </c:pt>
                <c:pt idx="17">
                  <c:v>44144</c:v>
                </c:pt>
                <c:pt idx="18">
                  <c:v>44145</c:v>
                </c:pt>
                <c:pt idx="19">
                  <c:v>44146</c:v>
                </c:pt>
                <c:pt idx="20">
                  <c:v>44147</c:v>
                </c:pt>
                <c:pt idx="21">
                  <c:v>44148</c:v>
                </c:pt>
                <c:pt idx="22">
                  <c:v>44150</c:v>
                </c:pt>
                <c:pt idx="23">
                  <c:v>44151</c:v>
                </c:pt>
                <c:pt idx="24">
                  <c:v>44152</c:v>
                </c:pt>
                <c:pt idx="25">
                  <c:v>44153</c:v>
                </c:pt>
                <c:pt idx="26">
                  <c:v>44154</c:v>
                </c:pt>
                <c:pt idx="27">
                  <c:v>44155</c:v>
                </c:pt>
                <c:pt idx="28">
                  <c:v>44157</c:v>
                </c:pt>
                <c:pt idx="29">
                  <c:v>44158</c:v>
                </c:pt>
                <c:pt idx="30">
                  <c:v>44159</c:v>
                </c:pt>
                <c:pt idx="31">
                  <c:v>44160</c:v>
                </c:pt>
                <c:pt idx="32">
                  <c:v>44161</c:v>
                </c:pt>
                <c:pt idx="33">
                  <c:v>44162</c:v>
                </c:pt>
                <c:pt idx="34">
                  <c:v>44163</c:v>
                </c:pt>
                <c:pt idx="35">
                  <c:v>44164</c:v>
                </c:pt>
                <c:pt idx="36">
                  <c:v>44165</c:v>
                </c:pt>
                <c:pt idx="37">
                  <c:v>44166</c:v>
                </c:pt>
                <c:pt idx="38">
                  <c:v>44167</c:v>
                </c:pt>
                <c:pt idx="39">
                  <c:v>44168</c:v>
                </c:pt>
                <c:pt idx="40">
                  <c:v>44169</c:v>
                </c:pt>
                <c:pt idx="41">
                  <c:v>44172</c:v>
                </c:pt>
                <c:pt idx="42">
                  <c:v>44173</c:v>
                </c:pt>
                <c:pt idx="43">
                  <c:v>44174</c:v>
                </c:pt>
                <c:pt idx="44">
                  <c:v>44175</c:v>
                </c:pt>
                <c:pt idx="45">
                  <c:v>44176</c:v>
                </c:pt>
                <c:pt idx="46">
                  <c:v>44177</c:v>
                </c:pt>
                <c:pt idx="47">
                  <c:v>44178</c:v>
                </c:pt>
                <c:pt idx="48">
                  <c:v>44179</c:v>
                </c:pt>
                <c:pt idx="49">
                  <c:v>44180</c:v>
                </c:pt>
                <c:pt idx="50">
                  <c:v>44181</c:v>
                </c:pt>
                <c:pt idx="51">
                  <c:v>44182</c:v>
                </c:pt>
                <c:pt idx="52">
                  <c:v>44183</c:v>
                </c:pt>
                <c:pt idx="53">
                  <c:v>44184</c:v>
                </c:pt>
                <c:pt idx="54">
                  <c:v>44185</c:v>
                </c:pt>
                <c:pt idx="55">
                  <c:v>44186</c:v>
                </c:pt>
                <c:pt idx="56">
                  <c:v>44187</c:v>
                </c:pt>
                <c:pt idx="57">
                  <c:v>44188</c:v>
                </c:pt>
                <c:pt idx="58">
                  <c:v>44189</c:v>
                </c:pt>
                <c:pt idx="59">
                  <c:v>44190</c:v>
                </c:pt>
                <c:pt idx="60">
                  <c:v>44191</c:v>
                </c:pt>
                <c:pt idx="61">
                  <c:v>44192</c:v>
                </c:pt>
                <c:pt idx="62">
                  <c:v>44193</c:v>
                </c:pt>
                <c:pt idx="63">
                  <c:v>44194</c:v>
                </c:pt>
                <c:pt idx="64">
                  <c:v>44195</c:v>
                </c:pt>
                <c:pt idx="65">
                  <c:v>44196</c:v>
                </c:pt>
                <c:pt idx="66">
                  <c:v>44197</c:v>
                </c:pt>
                <c:pt idx="67">
                  <c:v>44198</c:v>
                </c:pt>
                <c:pt idx="68">
                  <c:v>44199</c:v>
                </c:pt>
                <c:pt idx="69">
                  <c:v>44200</c:v>
                </c:pt>
                <c:pt idx="70">
                  <c:v>44201</c:v>
                </c:pt>
                <c:pt idx="71">
                  <c:v>44202</c:v>
                </c:pt>
                <c:pt idx="72">
                  <c:v>44203</c:v>
                </c:pt>
                <c:pt idx="73">
                  <c:v>44204</c:v>
                </c:pt>
                <c:pt idx="74">
                  <c:v>44205</c:v>
                </c:pt>
                <c:pt idx="75">
                  <c:v>44206</c:v>
                </c:pt>
                <c:pt idx="76">
                  <c:v>44207</c:v>
                </c:pt>
                <c:pt idx="77">
                  <c:v>44209</c:v>
                </c:pt>
                <c:pt idx="78">
                  <c:v>44210</c:v>
                </c:pt>
                <c:pt idx="79">
                  <c:v>44211</c:v>
                </c:pt>
                <c:pt idx="80">
                  <c:v>44212</c:v>
                </c:pt>
                <c:pt idx="81">
                  <c:v>44213</c:v>
                </c:pt>
                <c:pt idx="82">
                  <c:v>44214</c:v>
                </c:pt>
                <c:pt idx="83">
                  <c:v>44215</c:v>
                </c:pt>
                <c:pt idx="84">
                  <c:v>44216</c:v>
                </c:pt>
                <c:pt idx="85">
                  <c:v>44217</c:v>
                </c:pt>
                <c:pt idx="86">
                  <c:v>44218</c:v>
                </c:pt>
                <c:pt idx="87">
                  <c:v>44219</c:v>
                </c:pt>
                <c:pt idx="88">
                  <c:v>44220</c:v>
                </c:pt>
                <c:pt idx="89">
                  <c:v>44221</c:v>
                </c:pt>
                <c:pt idx="90">
                  <c:v>44222</c:v>
                </c:pt>
                <c:pt idx="91">
                  <c:v>44223</c:v>
                </c:pt>
                <c:pt idx="92">
                  <c:v>44224</c:v>
                </c:pt>
                <c:pt idx="93">
                  <c:v>44225</c:v>
                </c:pt>
                <c:pt idx="94">
                  <c:v>44226</c:v>
                </c:pt>
                <c:pt idx="95">
                  <c:v>44227</c:v>
                </c:pt>
                <c:pt idx="96">
                  <c:v>44228</c:v>
                </c:pt>
                <c:pt idx="97">
                  <c:v>44229</c:v>
                </c:pt>
                <c:pt idx="98">
                  <c:v>44230</c:v>
                </c:pt>
                <c:pt idx="99">
                  <c:v>44232</c:v>
                </c:pt>
                <c:pt idx="100">
                  <c:v>44233</c:v>
                </c:pt>
                <c:pt idx="101">
                  <c:v>44234</c:v>
                </c:pt>
                <c:pt idx="102">
                  <c:v>44235</c:v>
                </c:pt>
                <c:pt idx="103">
                  <c:v>44236</c:v>
                </c:pt>
                <c:pt idx="104">
                  <c:v>44237</c:v>
                </c:pt>
                <c:pt idx="105">
                  <c:v>44240</c:v>
                </c:pt>
                <c:pt idx="106">
                  <c:v>44241</c:v>
                </c:pt>
                <c:pt idx="107">
                  <c:v>44242</c:v>
                </c:pt>
                <c:pt idx="108">
                  <c:v>44243</c:v>
                </c:pt>
                <c:pt idx="109">
                  <c:v>44244</c:v>
                </c:pt>
                <c:pt idx="110">
                  <c:v>44245</c:v>
                </c:pt>
                <c:pt idx="111">
                  <c:v>44246</c:v>
                </c:pt>
                <c:pt idx="112">
                  <c:v>44247</c:v>
                </c:pt>
                <c:pt idx="113">
                  <c:v>44248</c:v>
                </c:pt>
                <c:pt idx="114">
                  <c:v>44249</c:v>
                </c:pt>
                <c:pt idx="115">
                  <c:v>44250</c:v>
                </c:pt>
                <c:pt idx="116">
                  <c:v>44251</c:v>
                </c:pt>
                <c:pt idx="117">
                  <c:v>44252</c:v>
                </c:pt>
                <c:pt idx="118">
                  <c:v>44253</c:v>
                </c:pt>
                <c:pt idx="119">
                  <c:v>44254</c:v>
                </c:pt>
                <c:pt idx="120">
                  <c:v>44255</c:v>
                </c:pt>
                <c:pt idx="121">
                  <c:v>44256</c:v>
                </c:pt>
                <c:pt idx="122">
                  <c:v>44257</c:v>
                </c:pt>
                <c:pt idx="123">
                  <c:v>44258</c:v>
                </c:pt>
                <c:pt idx="124">
                  <c:v>44259</c:v>
                </c:pt>
                <c:pt idx="125">
                  <c:v>44260</c:v>
                </c:pt>
                <c:pt idx="126">
                  <c:v>44261</c:v>
                </c:pt>
                <c:pt idx="127">
                  <c:v>44262</c:v>
                </c:pt>
                <c:pt idx="128">
                  <c:v>44263</c:v>
                </c:pt>
                <c:pt idx="129">
                  <c:v>44264</c:v>
                </c:pt>
                <c:pt idx="130">
                  <c:v>44265</c:v>
                </c:pt>
                <c:pt idx="131">
                  <c:v>44266</c:v>
                </c:pt>
                <c:pt idx="132">
                  <c:v>44267</c:v>
                </c:pt>
                <c:pt idx="133">
                  <c:v>44268</c:v>
                </c:pt>
                <c:pt idx="134">
                  <c:v>44269</c:v>
                </c:pt>
                <c:pt idx="135">
                  <c:v>44270</c:v>
                </c:pt>
                <c:pt idx="136">
                  <c:v>44271</c:v>
                </c:pt>
                <c:pt idx="137">
                  <c:v>44272</c:v>
                </c:pt>
                <c:pt idx="138">
                  <c:v>44273</c:v>
                </c:pt>
                <c:pt idx="139">
                  <c:v>44274</c:v>
                </c:pt>
                <c:pt idx="140">
                  <c:v>44275</c:v>
                </c:pt>
                <c:pt idx="141">
                  <c:v>44276</c:v>
                </c:pt>
                <c:pt idx="142">
                  <c:v>44277</c:v>
                </c:pt>
                <c:pt idx="143">
                  <c:v>44278</c:v>
                </c:pt>
                <c:pt idx="144">
                  <c:v>44279</c:v>
                </c:pt>
                <c:pt idx="145">
                  <c:v>44280</c:v>
                </c:pt>
                <c:pt idx="146">
                  <c:v>44281</c:v>
                </c:pt>
                <c:pt idx="147">
                  <c:v>44282</c:v>
                </c:pt>
                <c:pt idx="148">
                  <c:v>44283</c:v>
                </c:pt>
                <c:pt idx="149">
                  <c:v>44284</c:v>
                </c:pt>
                <c:pt idx="150">
                  <c:v>44285</c:v>
                </c:pt>
                <c:pt idx="151">
                  <c:v>44286</c:v>
                </c:pt>
                <c:pt idx="152">
                  <c:v>44287</c:v>
                </c:pt>
                <c:pt idx="153">
                  <c:v>44288</c:v>
                </c:pt>
                <c:pt idx="154">
                  <c:v>44289</c:v>
                </c:pt>
                <c:pt idx="155">
                  <c:v>44290</c:v>
                </c:pt>
                <c:pt idx="156">
                  <c:v>44291</c:v>
                </c:pt>
                <c:pt idx="157">
                  <c:v>44292</c:v>
                </c:pt>
                <c:pt idx="158">
                  <c:v>44293</c:v>
                </c:pt>
                <c:pt idx="159">
                  <c:v>44294</c:v>
                </c:pt>
                <c:pt idx="160">
                  <c:v>44295</c:v>
                </c:pt>
                <c:pt idx="161">
                  <c:v>44296</c:v>
                </c:pt>
                <c:pt idx="162">
                  <c:v>44297</c:v>
                </c:pt>
                <c:pt idx="163">
                  <c:v>44298</c:v>
                </c:pt>
                <c:pt idx="164">
                  <c:v>44299</c:v>
                </c:pt>
                <c:pt idx="165">
                  <c:v>44300</c:v>
                </c:pt>
                <c:pt idx="166">
                  <c:v>44301</c:v>
                </c:pt>
                <c:pt idx="167">
                  <c:v>44302</c:v>
                </c:pt>
                <c:pt idx="168">
                  <c:v>44303</c:v>
                </c:pt>
                <c:pt idx="169">
                  <c:v>44304</c:v>
                </c:pt>
                <c:pt idx="170">
                  <c:v>44305</c:v>
                </c:pt>
                <c:pt idx="171">
                  <c:v>44306</c:v>
                </c:pt>
                <c:pt idx="172">
                  <c:v>44307</c:v>
                </c:pt>
              </c:numCache>
            </c:numRef>
          </c:xVal>
          <c:yVal>
            <c:numRef>
              <c:f>Tabulky!$I$8:$I$180</c:f>
              <c:numCache>
                <c:formatCode>General</c:formatCode>
                <c:ptCount val="173"/>
                <c:pt idx="0">
                  <c:v>7</c:v>
                </c:pt>
                <c:pt idx="1">
                  <c:v>9</c:v>
                </c:pt>
                <c:pt idx="2">
                  <c:v>9</c:v>
                </c:pt>
                <c:pt idx="3">
                  <c:v>13</c:v>
                </c:pt>
                <c:pt idx="4">
                  <c:v>15</c:v>
                </c:pt>
                <c:pt idx="5">
                  <c:v>19</c:v>
                </c:pt>
                <c:pt idx="6">
                  <c:v>20</c:v>
                </c:pt>
                <c:pt idx="7">
                  <c:v>23</c:v>
                </c:pt>
                <c:pt idx="8">
                  <c:v>26</c:v>
                </c:pt>
                <c:pt idx="9">
                  <c:v>26</c:v>
                </c:pt>
                <c:pt idx="10">
                  <c:v>26</c:v>
                </c:pt>
                <c:pt idx="11">
                  <c:v>31</c:v>
                </c:pt>
                <c:pt idx="12">
                  <c:v>40</c:v>
                </c:pt>
                <c:pt idx="13">
                  <c:v>42</c:v>
                </c:pt>
                <c:pt idx="14">
                  <c:v>49</c:v>
                </c:pt>
                <c:pt idx="15">
                  <c:v>51</c:v>
                </c:pt>
                <c:pt idx="16">
                  <c:v>53</c:v>
                </c:pt>
                <c:pt idx="17">
                  <c:v>54</c:v>
                </c:pt>
                <c:pt idx="18">
                  <c:v>57</c:v>
                </c:pt>
                <c:pt idx="19">
                  <c:v>61</c:v>
                </c:pt>
                <c:pt idx="20">
                  <c:v>62</c:v>
                </c:pt>
                <c:pt idx="21">
                  <c:v>64</c:v>
                </c:pt>
                <c:pt idx="22">
                  <c:v>64</c:v>
                </c:pt>
                <c:pt idx="23">
                  <c:v>70</c:v>
                </c:pt>
                <c:pt idx="24">
                  <c:v>70</c:v>
                </c:pt>
                <c:pt idx="25">
                  <c:v>71</c:v>
                </c:pt>
                <c:pt idx="26">
                  <c:v>71</c:v>
                </c:pt>
                <c:pt idx="27">
                  <c:v>74</c:v>
                </c:pt>
                <c:pt idx="28">
                  <c:v>78</c:v>
                </c:pt>
                <c:pt idx="29">
                  <c:v>81</c:v>
                </c:pt>
                <c:pt idx="30">
                  <c:v>88</c:v>
                </c:pt>
                <c:pt idx="31">
                  <c:v>89</c:v>
                </c:pt>
                <c:pt idx="32">
                  <c:v>89</c:v>
                </c:pt>
                <c:pt idx="33">
                  <c:v>90</c:v>
                </c:pt>
                <c:pt idx="34">
                  <c:v>91</c:v>
                </c:pt>
                <c:pt idx="35">
                  <c:v>91</c:v>
                </c:pt>
                <c:pt idx="36">
                  <c:v>91</c:v>
                </c:pt>
                <c:pt idx="37">
                  <c:v>94</c:v>
                </c:pt>
                <c:pt idx="38">
                  <c:v>97</c:v>
                </c:pt>
                <c:pt idx="39">
                  <c:v>98</c:v>
                </c:pt>
                <c:pt idx="40">
                  <c:v>99</c:v>
                </c:pt>
                <c:pt idx="41">
                  <c:v>105</c:v>
                </c:pt>
                <c:pt idx="42">
                  <c:v>106</c:v>
                </c:pt>
                <c:pt idx="43">
                  <c:v>106</c:v>
                </c:pt>
                <c:pt idx="44">
                  <c:v>107</c:v>
                </c:pt>
                <c:pt idx="45">
                  <c:v>120</c:v>
                </c:pt>
                <c:pt idx="46">
                  <c:v>121</c:v>
                </c:pt>
                <c:pt idx="47">
                  <c:v>123</c:v>
                </c:pt>
                <c:pt idx="48">
                  <c:v>129</c:v>
                </c:pt>
                <c:pt idx="49">
                  <c:v>131</c:v>
                </c:pt>
                <c:pt idx="50">
                  <c:v>136</c:v>
                </c:pt>
                <c:pt idx="51">
                  <c:v>138</c:v>
                </c:pt>
                <c:pt idx="52">
                  <c:v>143</c:v>
                </c:pt>
                <c:pt idx="53">
                  <c:v>143</c:v>
                </c:pt>
                <c:pt idx="54">
                  <c:v>144</c:v>
                </c:pt>
                <c:pt idx="55">
                  <c:v>146</c:v>
                </c:pt>
                <c:pt idx="56">
                  <c:v>148</c:v>
                </c:pt>
                <c:pt idx="57">
                  <c:v>151</c:v>
                </c:pt>
                <c:pt idx="58">
                  <c:v>154</c:v>
                </c:pt>
                <c:pt idx="59">
                  <c:v>154</c:v>
                </c:pt>
                <c:pt idx="60">
                  <c:v>156</c:v>
                </c:pt>
                <c:pt idx="61">
                  <c:v>156</c:v>
                </c:pt>
                <c:pt idx="62">
                  <c:v>163</c:v>
                </c:pt>
                <c:pt idx="63">
                  <c:v>173</c:v>
                </c:pt>
                <c:pt idx="64">
                  <c:v>178</c:v>
                </c:pt>
                <c:pt idx="65">
                  <c:v>179</c:v>
                </c:pt>
                <c:pt idx="66">
                  <c:v>181</c:v>
                </c:pt>
                <c:pt idx="67">
                  <c:v>182</c:v>
                </c:pt>
                <c:pt idx="68">
                  <c:v>184</c:v>
                </c:pt>
                <c:pt idx="69">
                  <c:v>186</c:v>
                </c:pt>
                <c:pt idx="70">
                  <c:v>187</c:v>
                </c:pt>
                <c:pt idx="71">
                  <c:v>193</c:v>
                </c:pt>
                <c:pt idx="72">
                  <c:v>194</c:v>
                </c:pt>
                <c:pt idx="73">
                  <c:v>194</c:v>
                </c:pt>
                <c:pt idx="74">
                  <c:v>198</c:v>
                </c:pt>
                <c:pt idx="75">
                  <c:v>198</c:v>
                </c:pt>
                <c:pt idx="76">
                  <c:v>201</c:v>
                </c:pt>
                <c:pt idx="77">
                  <c:v>208</c:v>
                </c:pt>
                <c:pt idx="78">
                  <c:v>208</c:v>
                </c:pt>
                <c:pt idx="79">
                  <c:v>210</c:v>
                </c:pt>
                <c:pt idx="80">
                  <c:v>210</c:v>
                </c:pt>
                <c:pt idx="81">
                  <c:v>210</c:v>
                </c:pt>
                <c:pt idx="82">
                  <c:v>212</c:v>
                </c:pt>
                <c:pt idx="83">
                  <c:v>213</c:v>
                </c:pt>
                <c:pt idx="84">
                  <c:v>213</c:v>
                </c:pt>
                <c:pt idx="85">
                  <c:v>215</c:v>
                </c:pt>
                <c:pt idx="86">
                  <c:v>215</c:v>
                </c:pt>
                <c:pt idx="87">
                  <c:v>215</c:v>
                </c:pt>
                <c:pt idx="88">
                  <c:v>215</c:v>
                </c:pt>
                <c:pt idx="89">
                  <c:v>218</c:v>
                </c:pt>
                <c:pt idx="90">
                  <c:v>218</c:v>
                </c:pt>
                <c:pt idx="91">
                  <c:v>218</c:v>
                </c:pt>
                <c:pt idx="92">
                  <c:v>218</c:v>
                </c:pt>
                <c:pt idx="93">
                  <c:v>218</c:v>
                </c:pt>
                <c:pt idx="94">
                  <c:v>218</c:v>
                </c:pt>
                <c:pt idx="95">
                  <c:v>218</c:v>
                </c:pt>
                <c:pt idx="96">
                  <c:v>219</c:v>
                </c:pt>
                <c:pt idx="97">
                  <c:v>220</c:v>
                </c:pt>
                <c:pt idx="98">
                  <c:v>221</c:v>
                </c:pt>
                <c:pt idx="99">
                  <c:v>221</c:v>
                </c:pt>
                <c:pt idx="100">
                  <c:v>221</c:v>
                </c:pt>
                <c:pt idx="101">
                  <c:v>221</c:v>
                </c:pt>
                <c:pt idx="102">
                  <c:v>221</c:v>
                </c:pt>
                <c:pt idx="103">
                  <c:v>222</c:v>
                </c:pt>
                <c:pt idx="104">
                  <c:v>222</c:v>
                </c:pt>
                <c:pt idx="105">
                  <c:v>222</c:v>
                </c:pt>
                <c:pt idx="106">
                  <c:v>222</c:v>
                </c:pt>
                <c:pt idx="107">
                  <c:v>222</c:v>
                </c:pt>
                <c:pt idx="108">
                  <c:v>223</c:v>
                </c:pt>
                <c:pt idx="109">
                  <c:v>224</c:v>
                </c:pt>
                <c:pt idx="110">
                  <c:v>226</c:v>
                </c:pt>
                <c:pt idx="111">
                  <c:v>226</c:v>
                </c:pt>
                <c:pt idx="112">
                  <c:v>226</c:v>
                </c:pt>
                <c:pt idx="113">
                  <c:v>226</c:v>
                </c:pt>
                <c:pt idx="114">
                  <c:v>226</c:v>
                </c:pt>
                <c:pt idx="115">
                  <c:v>228</c:v>
                </c:pt>
                <c:pt idx="116">
                  <c:v>228</c:v>
                </c:pt>
                <c:pt idx="117">
                  <c:v>229</c:v>
                </c:pt>
                <c:pt idx="118">
                  <c:v>229</c:v>
                </c:pt>
                <c:pt idx="119">
                  <c:v>229</c:v>
                </c:pt>
                <c:pt idx="120">
                  <c:v>230</c:v>
                </c:pt>
                <c:pt idx="121">
                  <c:v>230</c:v>
                </c:pt>
                <c:pt idx="122">
                  <c:v>230</c:v>
                </c:pt>
                <c:pt idx="123">
                  <c:v>230</c:v>
                </c:pt>
                <c:pt idx="124">
                  <c:v>230</c:v>
                </c:pt>
                <c:pt idx="125">
                  <c:v>230</c:v>
                </c:pt>
                <c:pt idx="126">
                  <c:v>230</c:v>
                </c:pt>
                <c:pt idx="127">
                  <c:v>230</c:v>
                </c:pt>
                <c:pt idx="128">
                  <c:v>230</c:v>
                </c:pt>
                <c:pt idx="129">
                  <c:v>230</c:v>
                </c:pt>
                <c:pt idx="130">
                  <c:v>230</c:v>
                </c:pt>
                <c:pt idx="131">
                  <c:v>230</c:v>
                </c:pt>
                <c:pt idx="132">
                  <c:v>230</c:v>
                </c:pt>
                <c:pt idx="133">
                  <c:v>230</c:v>
                </c:pt>
                <c:pt idx="134">
                  <c:v>230</c:v>
                </c:pt>
                <c:pt idx="135">
                  <c:v>230</c:v>
                </c:pt>
                <c:pt idx="136">
                  <c:v>230</c:v>
                </c:pt>
                <c:pt idx="137">
                  <c:v>230</c:v>
                </c:pt>
                <c:pt idx="138">
                  <c:v>231</c:v>
                </c:pt>
                <c:pt idx="139">
                  <c:v>231</c:v>
                </c:pt>
                <c:pt idx="140">
                  <c:v>231</c:v>
                </c:pt>
                <c:pt idx="141">
                  <c:v>231</c:v>
                </c:pt>
                <c:pt idx="142">
                  <c:v>231</c:v>
                </c:pt>
                <c:pt idx="143">
                  <c:v>231</c:v>
                </c:pt>
                <c:pt idx="144">
                  <c:v>231</c:v>
                </c:pt>
                <c:pt idx="145">
                  <c:v>232</c:v>
                </c:pt>
                <c:pt idx="146">
                  <c:v>232</c:v>
                </c:pt>
                <c:pt idx="147">
                  <c:v>232</c:v>
                </c:pt>
                <c:pt idx="148">
                  <c:v>232</c:v>
                </c:pt>
                <c:pt idx="149">
                  <c:v>232</c:v>
                </c:pt>
                <c:pt idx="150">
                  <c:v>232</c:v>
                </c:pt>
                <c:pt idx="151">
                  <c:v>232</c:v>
                </c:pt>
                <c:pt idx="152">
                  <c:v>232</c:v>
                </c:pt>
                <c:pt idx="153">
                  <c:v>232</c:v>
                </c:pt>
                <c:pt idx="154">
                  <c:v>232</c:v>
                </c:pt>
                <c:pt idx="155">
                  <c:v>232</c:v>
                </c:pt>
                <c:pt idx="156">
                  <c:v>232</c:v>
                </c:pt>
                <c:pt idx="157">
                  <c:v>232</c:v>
                </c:pt>
                <c:pt idx="158">
                  <c:v>232</c:v>
                </c:pt>
                <c:pt idx="159">
                  <c:v>232</c:v>
                </c:pt>
                <c:pt idx="160">
                  <c:v>232</c:v>
                </c:pt>
                <c:pt idx="161">
                  <c:v>232</c:v>
                </c:pt>
                <c:pt idx="162">
                  <c:v>232</c:v>
                </c:pt>
                <c:pt idx="163">
                  <c:v>232</c:v>
                </c:pt>
                <c:pt idx="164">
                  <c:v>232</c:v>
                </c:pt>
                <c:pt idx="165">
                  <c:v>232</c:v>
                </c:pt>
                <c:pt idx="166">
                  <c:v>232</c:v>
                </c:pt>
                <c:pt idx="167">
                  <c:v>232</c:v>
                </c:pt>
                <c:pt idx="168">
                  <c:v>232</c:v>
                </c:pt>
                <c:pt idx="169">
                  <c:v>232</c:v>
                </c:pt>
                <c:pt idx="170">
                  <c:v>232</c:v>
                </c:pt>
                <c:pt idx="171">
                  <c:v>23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B52A-4622-9012-9D442C2B03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92682584"/>
        <c:axId val="792679632"/>
      </c:scatterChart>
      <c:valAx>
        <c:axId val="792682584"/>
        <c:scaling>
          <c:orientation val="minMax"/>
          <c:min val="44125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92679632"/>
        <c:crosses val="autoZero"/>
        <c:crossBetween val="midCat"/>
      </c:valAx>
      <c:valAx>
        <c:axId val="792679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/>
                  <a:t>Počet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92682584"/>
        <c:crossesAt val="44124"/>
        <c:crossBetween val="midCat"/>
      </c:valAx>
      <c:spPr>
        <a:solidFill>
          <a:schemeClr val="accent1">
            <a:lumMod val="20000"/>
            <a:lumOff val="80000"/>
          </a:schemeClr>
        </a:soli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4808568288073745"/>
          <c:y val="0.94883979776171468"/>
          <c:w val="0.41453927769605836"/>
          <c:h val="5.04212356551729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200" b="0" i="0" baseline="0" dirty="0">
                <a:effectLst/>
              </a:rPr>
              <a:t>Srovnání vývoje zasažených zařízeních SSL, pozitivních klientů a pracovníků napříč jednotlivými kraji </a:t>
            </a:r>
            <a:endParaRPr lang="cs-CZ" sz="1200" b="0" i="0" baseline="0" dirty="0" smtClean="0">
              <a:effectLst/>
            </a:endParaRPr>
          </a:p>
          <a:p>
            <a:pPr>
              <a:defRPr/>
            </a:pPr>
            <a:r>
              <a:rPr lang="cs-CZ" sz="1200" b="0" i="0" baseline="0" dirty="0" smtClean="0">
                <a:effectLst/>
              </a:rPr>
              <a:t>ke </a:t>
            </a:r>
            <a:r>
              <a:rPr lang="cs-CZ" sz="1200" b="0" i="0" baseline="0" dirty="0">
                <a:effectLst/>
              </a:rPr>
              <a:t>dni 20. 4. 2021</a:t>
            </a:r>
            <a:endParaRPr lang="cs-CZ" sz="1200" dirty="0">
              <a:effectLst/>
            </a:endParaRPr>
          </a:p>
        </c:rich>
      </c:tx>
      <c:layout>
        <c:manualLayout>
          <c:xMode val="edge"/>
          <c:yMode val="edge"/>
          <c:x val="0.12957208473940757"/>
          <c:y val="3.9528181084840769E-2"/>
        </c:manualLayout>
      </c:layout>
      <c:overlay val="0"/>
      <c:spPr>
        <a:solidFill>
          <a:schemeClr val="accent4">
            <a:lumMod val="40000"/>
            <a:lumOff val="60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6.874393938376433E-2"/>
          <c:y val="0.16367078882518352"/>
          <c:w val="0.89933431261952557"/>
          <c:h val="0.58842538459145566"/>
        </c:manualLayout>
      </c:layout>
      <c:barChart>
        <c:barDir val="col"/>
        <c:grouping val="clustered"/>
        <c:varyColors val="0"/>
        <c:ser>
          <c:idx val="0"/>
          <c:order val="0"/>
          <c:tx>
            <c:v>Zařízení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Lit>
              <c:ptCount val="14"/>
              <c:pt idx="0">
                <c:v>Hlavní město Praha</c:v>
              </c:pt>
              <c:pt idx="1">
                <c:v>Jihočeský kraj</c:v>
              </c:pt>
              <c:pt idx="2">
                <c:v>Jihomoravský kraj</c:v>
              </c:pt>
              <c:pt idx="3">
                <c:v>Karlovarský kraj</c:v>
              </c:pt>
              <c:pt idx="4">
                <c:v>Kraj Vysočina</c:v>
              </c:pt>
              <c:pt idx="5">
                <c:v>Královéhradecký kraj</c:v>
              </c:pt>
              <c:pt idx="6">
                <c:v>Liberecký kraj</c:v>
              </c:pt>
              <c:pt idx="7">
                <c:v>Moravskoslezský kraj</c:v>
              </c:pt>
              <c:pt idx="8">
                <c:v>Olomoucký kraj</c:v>
              </c:pt>
              <c:pt idx="9">
                <c:v>Pardubický kraj</c:v>
              </c:pt>
              <c:pt idx="10">
                <c:v>Plzeňský kraj</c:v>
              </c:pt>
              <c:pt idx="11">
                <c:v>Středočeský kraj</c:v>
              </c:pt>
              <c:pt idx="12">
                <c:v>Ústecký kraj</c:v>
              </c:pt>
              <c:pt idx="13">
                <c:v>Zlínský kraj</c:v>
              </c:pt>
            </c:strLit>
          </c:cat>
          <c:val>
            <c:numLit>
              <c:formatCode>General</c:formatCode>
              <c:ptCount val="14"/>
              <c:pt idx="0">
                <c:v>36</c:v>
              </c:pt>
              <c:pt idx="1">
                <c:v>31</c:v>
              </c:pt>
              <c:pt idx="2">
                <c:v>85</c:v>
              </c:pt>
              <c:pt idx="3">
                <c:v>21</c:v>
              </c:pt>
              <c:pt idx="4">
                <c:v>34</c:v>
              </c:pt>
              <c:pt idx="5">
                <c:v>27</c:v>
              </c:pt>
              <c:pt idx="6">
                <c:v>25</c:v>
              </c:pt>
              <c:pt idx="7">
                <c:v>63</c:v>
              </c:pt>
              <c:pt idx="8">
                <c:v>36</c:v>
              </c:pt>
              <c:pt idx="9">
                <c:v>28</c:v>
              </c:pt>
              <c:pt idx="10">
                <c:v>31</c:v>
              </c:pt>
              <c:pt idx="11">
                <c:v>80</c:v>
              </c:pt>
              <c:pt idx="12">
                <c:v>60</c:v>
              </c:pt>
              <c:pt idx="13">
                <c:v>37</c:v>
              </c:pt>
            </c:numLit>
          </c:val>
          <c:extLst>
            <c:ext xmlns:c16="http://schemas.microsoft.com/office/drawing/2014/chart" uri="{C3380CC4-5D6E-409C-BE32-E72D297353CC}">
              <c16:uniqueId val="{00000000-25D5-4FD3-B489-37A4DABD9304}"/>
            </c:ext>
          </c:extLst>
        </c:ser>
        <c:ser>
          <c:idx val="1"/>
          <c:order val="1"/>
          <c:tx>
            <c:v>Pozitivní klienti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Lit>
              <c:ptCount val="14"/>
              <c:pt idx="0">
                <c:v>Hlavní město Praha</c:v>
              </c:pt>
              <c:pt idx="1">
                <c:v>Jihočeský kraj</c:v>
              </c:pt>
              <c:pt idx="2">
                <c:v>Jihomoravský kraj</c:v>
              </c:pt>
              <c:pt idx="3">
                <c:v>Karlovarský kraj</c:v>
              </c:pt>
              <c:pt idx="4">
                <c:v>Kraj Vysočina</c:v>
              </c:pt>
              <c:pt idx="5">
                <c:v>Královéhradecký kraj</c:v>
              </c:pt>
              <c:pt idx="6">
                <c:v>Liberecký kraj</c:v>
              </c:pt>
              <c:pt idx="7">
                <c:v>Moravskoslezský kraj</c:v>
              </c:pt>
              <c:pt idx="8">
                <c:v>Olomoucký kraj</c:v>
              </c:pt>
              <c:pt idx="9">
                <c:v>Pardubický kraj</c:v>
              </c:pt>
              <c:pt idx="10">
                <c:v>Plzeňský kraj</c:v>
              </c:pt>
              <c:pt idx="11">
                <c:v>Středočeský kraj</c:v>
              </c:pt>
              <c:pt idx="12">
                <c:v>Ústecký kraj</c:v>
              </c:pt>
              <c:pt idx="13">
                <c:v>Zlínský kraj</c:v>
              </c:pt>
            </c:strLit>
          </c:cat>
          <c:val>
            <c:numLit>
              <c:formatCode>General</c:formatCode>
              <c:ptCount val="14"/>
              <c:pt idx="0">
                <c:v>108</c:v>
              </c:pt>
              <c:pt idx="1">
                <c:v>15</c:v>
              </c:pt>
              <c:pt idx="2">
                <c:v>376</c:v>
              </c:pt>
              <c:pt idx="3">
                <c:v>16</c:v>
              </c:pt>
              <c:pt idx="4">
                <c:v>152</c:v>
              </c:pt>
              <c:pt idx="5">
                <c:v>20</c:v>
              </c:pt>
              <c:pt idx="6">
                <c:v>16</c:v>
              </c:pt>
              <c:pt idx="7">
                <c:v>165</c:v>
              </c:pt>
              <c:pt idx="8">
                <c:v>27</c:v>
              </c:pt>
              <c:pt idx="9">
                <c:v>24</c:v>
              </c:pt>
              <c:pt idx="10">
                <c:v>53</c:v>
              </c:pt>
              <c:pt idx="11">
                <c:v>205</c:v>
              </c:pt>
              <c:pt idx="12">
                <c:v>225</c:v>
              </c:pt>
              <c:pt idx="13">
                <c:v>19</c:v>
              </c:pt>
            </c:numLit>
          </c:val>
          <c:extLst>
            <c:ext xmlns:c16="http://schemas.microsoft.com/office/drawing/2014/chart" uri="{C3380CC4-5D6E-409C-BE32-E72D297353CC}">
              <c16:uniqueId val="{00000001-25D5-4FD3-B489-37A4DABD9304}"/>
            </c:ext>
          </c:extLst>
        </c:ser>
        <c:ser>
          <c:idx val="2"/>
          <c:order val="2"/>
          <c:tx>
            <c:v>Pozitivní pracovníci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Lit>
              <c:ptCount val="14"/>
              <c:pt idx="0">
                <c:v>Hlavní město Praha</c:v>
              </c:pt>
              <c:pt idx="1">
                <c:v>Jihočeský kraj</c:v>
              </c:pt>
              <c:pt idx="2">
                <c:v>Jihomoravský kraj</c:v>
              </c:pt>
              <c:pt idx="3">
                <c:v>Karlovarský kraj</c:v>
              </c:pt>
              <c:pt idx="4">
                <c:v>Kraj Vysočina</c:v>
              </c:pt>
              <c:pt idx="5">
                <c:v>Královéhradecký kraj</c:v>
              </c:pt>
              <c:pt idx="6">
                <c:v>Liberecký kraj</c:v>
              </c:pt>
              <c:pt idx="7">
                <c:v>Moravskoslezský kraj</c:v>
              </c:pt>
              <c:pt idx="8">
                <c:v>Olomoucký kraj</c:v>
              </c:pt>
              <c:pt idx="9">
                <c:v>Pardubický kraj</c:v>
              </c:pt>
              <c:pt idx="10">
                <c:v>Plzeňský kraj</c:v>
              </c:pt>
              <c:pt idx="11">
                <c:v>Středočeský kraj</c:v>
              </c:pt>
              <c:pt idx="12">
                <c:v>Ústecký kraj</c:v>
              </c:pt>
              <c:pt idx="13">
                <c:v>Zlínský kraj</c:v>
              </c:pt>
            </c:strLit>
          </c:cat>
          <c:val>
            <c:numLit>
              <c:formatCode>General</c:formatCode>
              <c:ptCount val="14"/>
              <c:pt idx="0">
                <c:v>61</c:v>
              </c:pt>
              <c:pt idx="1">
                <c:v>20</c:v>
              </c:pt>
              <c:pt idx="2">
                <c:v>204</c:v>
              </c:pt>
              <c:pt idx="3">
                <c:v>10</c:v>
              </c:pt>
              <c:pt idx="4">
                <c:v>80</c:v>
              </c:pt>
              <c:pt idx="5">
                <c:v>20</c:v>
              </c:pt>
              <c:pt idx="6">
                <c:v>33</c:v>
              </c:pt>
              <c:pt idx="7">
                <c:v>115</c:v>
              </c:pt>
              <c:pt idx="8">
                <c:v>52</c:v>
              </c:pt>
              <c:pt idx="9">
                <c:v>37</c:v>
              </c:pt>
              <c:pt idx="10">
                <c:v>41</c:v>
              </c:pt>
              <c:pt idx="11">
                <c:v>166</c:v>
              </c:pt>
              <c:pt idx="12">
                <c:v>119</c:v>
              </c:pt>
              <c:pt idx="13">
                <c:v>32</c:v>
              </c:pt>
            </c:numLit>
          </c:val>
          <c:extLst>
            <c:ext xmlns:c16="http://schemas.microsoft.com/office/drawing/2014/chart" uri="{C3380CC4-5D6E-409C-BE32-E72D297353CC}">
              <c16:uniqueId val="{00000002-25D5-4FD3-B489-37A4DABD930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21763823"/>
        <c:axId val="1658926127"/>
      </c:barChart>
      <c:catAx>
        <c:axId val="162176382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58926127"/>
        <c:crosses val="autoZero"/>
        <c:auto val="1"/>
        <c:lblAlgn val="ctr"/>
        <c:lblOffset val="100"/>
        <c:noMultiLvlLbl val="0"/>
      </c:catAx>
      <c:valAx>
        <c:axId val="16589261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217638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43704377885702267"/>
          <c:y val="0.94640069869397447"/>
          <c:w val="0.56134702576980677"/>
          <c:h val="5.10445511515981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rgbClr val="CCFFCC"/>
    </a:solidFill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extLst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21-04-14T17:36:36.440" idx="1">
    <p:pos x="10" y="10"/>
    <p:text/>
    <p:extLst>
      <p:ext uri="{C676402C-5697-4E1C-873F-D02D1690AC5C}">
        <p15:threadingInfo xmlns:p15="http://schemas.microsoft.com/office/powerpoint/2012/main" timeZoneBias="-12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52.emf"/><Relationship Id="rId1" Type="http://schemas.openxmlformats.org/officeDocument/2006/relationships/image" Target="../media/image5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3656</cdr:x>
      <cdr:y>0.41009</cdr:y>
    </cdr:from>
    <cdr:to>
      <cdr:x>0.17282</cdr:x>
      <cdr:y>0.43555</cdr:y>
    </cdr:to>
    <cdr:sp macro="" textlink="">
      <cdr:nvSpPr>
        <cdr:cNvPr id="2" name="Šipka doprava 1"/>
        <cdr:cNvSpPr/>
      </cdr:nvSpPr>
      <cdr:spPr>
        <a:xfrm xmlns:a="http://schemas.openxmlformats.org/drawingml/2006/main">
          <a:off x="193237" y="2319753"/>
          <a:ext cx="720080" cy="144016"/>
        </a:xfrm>
        <a:prstGeom xmlns:a="http://schemas.openxmlformats.org/drawingml/2006/main" prst="rightArrow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cs-CZ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49B693-0224-4462-ABCA-F9A8F1AB2C32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1A8391-AEEE-4BD7-9637-00D7868B75A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420487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82727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23669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83240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B43135-FA3B-4439-9778-AB2E228C4C5C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55144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6.png"/><Relationship Id="rId4" Type="http://schemas.openxmlformats.org/officeDocument/2006/relationships/image" Target="NUL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image" Target="../media/image8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image" Target="../media/image8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image" Target="../media/image8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image" Target="../media/image8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6.png"/><Relationship Id="rId4" Type="http://schemas.openxmlformats.org/officeDocument/2006/relationships/image" Target="NUL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Relationship Id="rId6" Type="http://schemas.openxmlformats.org/officeDocument/2006/relationships/image" Target="NULL"/><Relationship Id="rId5" Type="http://schemas.openxmlformats.org/officeDocument/2006/relationships/image" Target="../media/image14.png"/><Relationship Id="rId4" Type="http://schemas.openxmlformats.org/officeDocument/2006/relationships/image" Target="NUL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Relationship Id="rId6" Type="http://schemas.openxmlformats.org/officeDocument/2006/relationships/image" Target="NULL"/><Relationship Id="rId5" Type="http://schemas.openxmlformats.org/officeDocument/2006/relationships/image" Target="../media/image17.png"/><Relationship Id="rId4" Type="http://schemas.openxmlformats.org/officeDocument/2006/relationships/image" Target="NUL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Relationship Id="rId6" Type="http://schemas.openxmlformats.org/officeDocument/2006/relationships/image" Target="NULL"/><Relationship Id="rId5" Type="http://schemas.openxmlformats.org/officeDocument/2006/relationships/image" Target="../media/image17.png"/><Relationship Id="rId4" Type="http://schemas.openxmlformats.org/officeDocument/2006/relationships/image" Target="NUL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Relationship Id="rId6" Type="http://schemas.openxmlformats.org/officeDocument/2006/relationships/image" Target="NULL"/><Relationship Id="rId5" Type="http://schemas.openxmlformats.org/officeDocument/2006/relationships/image" Target="../media/image14.png"/><Relationship Id="rId4" Type="http://schemas.openxmlformats.org/officeDocument/2006/relationships/image" Target="NUL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Relationship Id="rId6" Type="http://schemas.openxmlformats.org/officeDocument/2006/relationships/image" Target="NULL"/><Relationship Id="rId5" Type="http://schemas.openxmlformats.org/officeDocument/2006/relationships/image" Target="../media/image14.png"/><Relationship Id="rId4" Type="http://schemas.openxmlformats.org/officeDocument/2006/relationships/image" Target="NUL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.sv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.sv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.svg"/><Relationship Id="rId5" Type="http://schemas.openxmlformats.org/officeDocument/2006/relationships/image" Target="../media/image20.png"/><Relationship Id="rId4" Type="http://schemas.openxmlformats.org/officeDocument/2006/relationships/image" Target="../media/image2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0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smtClean="0"/>
              <a:t>Kliknutím můžete upravit styl předlohy.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4C4AF-00CE-49A1-A89A-55E083F5FB62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56835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4C4AF-00CE-49A1-A89A-55E083F5FB62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0646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4C4AF-00CE-49A1-A89A-55E083F5FB62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665615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cs-CZ"/>
              <a:t>Klepnutím lze upravit styl předlohy podnadpisů.</a:t>
            </a:r>
          </a:p>
        </p:txBody>
      </p:sp>
    </p:spTree>
    <p:extLst>
      <p:ext uri="{BB962C8B-B14F-4D97-AF65-F5344CB8AC3E}">
        <p14:creationId xmlns:p14="http://schemas.microsoft.com/office/powerpoint/2010/main" val="2698787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3129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3054777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912285" y="2060575"/>
            <a:ext cx="5226049" cy="38163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341533" y="2060575"/>
            <a:ext cx="5226051" cy="38163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911429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326765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</p:spTree>
    <p:extLst>
      <p:ext uri="{BB962C8B-B14F-4D97-AF65-F5344CB8AC3E}">
        <p14:creationId xmlns:p14="http://schemas.microsoft.com/office/powerpoint/2010/main" val="2890131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925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2562865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4C4AF-00CE-49A1-A89A-55E083F5FB62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53854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626806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935359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904818" y="1484313"/>
            <a:ext cx="2662767" cy="4392612"/>
          </a:xfrm>
        </p:spPr>
        <p:txBody>
          <a:bodyPr vert="eaVert"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912284" y="1484313"/>
            <a:ext cx="7789333" cy="4392612"/>
          </a:xfrm>
        </p:spPr>
        <p:txBody>
          <a:bodyPr vert="eaVert"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256183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4129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0975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9390743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200059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175662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52878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7642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4C4AF-00CE-49A1-A89A-55E083F5FB62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85390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23503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25386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59410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490790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789079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0597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681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35872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581374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788092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4C4AF-00CE-49A1-A89A-55E083F5FB62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75397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00962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01556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611557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59692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7222532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0814866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089222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631233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9" name="Skupina 8">
            <a:extLst>
              <a:ext uri="{FF2B5EF4-FFF2-40B4-BE49-F238E27FC236}">
                <a16:creationId xmlns:a16="http://schemas.microsoft.com/office/drawing/2014/main" id="{EDDAB015-EBF0-4938-889E-56AD1CB499F3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5686FF4F-BD31-4284-A6F4-E2F29A74A3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402B9ECF-11DA-4FAD-9387-9E56728971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881801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98209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4C4AF-00CE-49A1-A89A-55E083F5FB62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58631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8872513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29130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876698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9818250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61089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952158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9034148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7802986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686727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307723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4C4AF-00CE-49A1-A89A-55E083F5FB62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877200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820654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9405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05975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6207215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865120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86343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34319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rgbClr val="FFFFFF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10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rgbClr val="FFFFFF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64009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rgbClr val="FFFFFF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99373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4C4AF-00CE-49A1-A89A-55E083F5FB62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4145725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398662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rgbClr val="FFFFFF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5291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4C4AF-00CE-49A1-A89A-55E083F5FB62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965603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4C4AF-00CE-49A1-A89A-55E083F5FB62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92481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5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3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64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9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71.xml"/><Relationship Id="rId4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24C4AF-00CE-49A1-A89A-55E083F5FB62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DE26E9-BBEF-4DB6-93F7-D8386D330D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6626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2285" y="1484313"/>
            <a:ext cx="10655300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epnutím lze upravit styl předlohy nadpisů.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285" y="2060575"/>
            <a:ext cx="10655300" cy="381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epnutím lze upravit styly předlohy textu.</a:t>
            </a:r>
          </a:p>
        </p:txBody>
      </p:sp>
      <p:pic>
        <p:nvPicPr>
          <p:cNvPr id="1031" name="Picture 7" descr="hlavicka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1"/>
            <a:ext cx="12192000" cy="12239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43239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225286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563582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078512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8325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721119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26365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37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27.xml"/><Relationship Id="rId17" Type="http://schemas.openxmlformats.org/officeDocument/2006/relationships/image" Target="../media/image41.png"/><Relationship Id="rId2" Type="http://schemas.openxmlformats.org/officeDocument/2006/relationships/tags" Target="../tags/tag2.xml"/><Relationship Id="rId16" Type="http://schemas.openxmlformats.org/officeDocument/2006/relationships/image" Target="../media/image40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39.pn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image" Target="../media/image42.png"/><Relationship Id="rId5" Type="http://schemas.openxmlformats.org/officeDocument/2006/relationships/tags" Target="../tags/tag16.xml"/><Relationship Id="rId10" Type="http://schemas.openxmlformats.org/officeDocument/2006/relationships/slideLayout" Target="../slideLayouts/slideLayout27.xml"/><Relationship Id="rId4" Type="http://schemas.openxmlformats.org/officeDocument/2006/relationships/tags" Target="../tags/tag15.xml"/><Relationship Id="rId9" Type="http://schemas.openxmlformats.org/officeDocument/2006/relationships/tags" Target="../tags/tag2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image" Target="../media/image44.jp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image" Target="../media/image43.gif"/><Relationship Id="rId5" Type="http://schemas.openxmlformats.org/officeDocument/2006/relationships/tags" Target="../tags/tag25.xml"/><Relationship Id="rId10" Type="http://schemas.openxmlformats.org/officeDocument/2006/relationships/chart" Target="../charts/chart1.xml"/><Relationship Id="rId4" Type="http://schemas.openxmlformats.org/officeDocument/2006/relationships/tags" Target="../tags/tag24.xml"/><Relationship Id="rId9" Type="http://schemas.openxmlformats.org/officeDocument/2006/relationships/slideLayout" Target="../slideLayouts/slideLayout3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chart" Target="../charts/chart3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chart" Target="../charts/chart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slideLayout" Target="../slideLayouts/slideLayout49.xml"/><Relationship Id="rId5" Type="http://schemas.openxmlformats.org/officeDocument/2006/relationships/tags" Target="../tags/tag33.xml"/><Relationship Id="rId10" Type="http://schemas.openxmlformats.org/officeDocument/2006/relationships/tags" Target="../tags/tag38.xml"/><Relationship Id="rId4" Type="http://schemas.openxmlformats.org/officeDocument/2006/relationships/tags" Target="../tags/tag32.xml"/><Relationship Id="rId9" Type="http://schemas.openxmlformats.org/officeDocument/2006/relationships/tags" Target="../tags/tag3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chart" Target="../charts/chart5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chart" Target="../charts/chart4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slideLayout" Target="../slideLayouts/slideLayout49.xml"/><Relationship Id="rId5" Type="http://schemas.openxmlformats.org/officeDocument/2006/relationships/tags" Target="../tags/tag43.xml"/><Relationship Id="rId10" Type="http://schemas.openxmlformats.org/officeDocument/2006/relationships/tags" Target="../tags/tag48.xml"/><Relationship Id="rId4" Type="http://schemas.openxmlformats.org/officeDocument/2006/relationships/tags" Target="../tags/tag42.xml"/><Relationship Id="rId9" Type="http://schemas.openxmlformats.org/officeDocument/2006/relationships/tags" Target="../tags/tag4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chart" Target="../charts/chart6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51.xml"/><Relationship Id="rId4" Type="http://schemas.openxmlformats.org/officeDocument/2006/relationships/tags" Target="../tags/tag5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chart" Target="../charts/chart7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51.xml"/><Relationship Id="rId4" Type="http://schemas.openxmlformats.org/officeDocument/2006/relationships/tags" Target="../tags/tag5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6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4.png"/><Relationship Id="rId4" Type="http://schemas.openxmlformats.org/officeDocument/2006/relationships/image" Target="../media/image47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1.xml"/><Relationship Id="rId4" Type="http://schemas.openxmlformats.org/officeDocument/2006/relationships/image" Target="../media/image49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31.png"/><Relationship Id="rId7" Type="http://schemas.openxmlformats.org/officeDocument/2006/relationships/image" Target="../media/image52.emf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1.emf"/><Relationship Id="rId4" Type="http://schemas.openxmlformats.org/officeDocument/2006/relationships/oleObject" Target="../embeddings/oleObject4.bin"/><Relationship Id="rId9" Type="http://schemas.openxmlformats.org/officeDocument/2006/relationships/comments" Target="../comments/commen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emf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5.emf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268760"/>
            <a:ext cx="12144672" cy="5544616"/>
          </a:xfrm>
        </p:spPr>
        <p:txBody>
          <a:bodyPr/>
          <a:lstStyle/>
          <a:p>
            <a:pPr algn="ctr"/>
            <a:r>
              <a:rPr lang="cs-CZ" sz="5400" dirty="0" smtClean="0">
                <a:solidFill>
                  <a:schemeClr val="accent2"/>
                </a:solidFill>
                <a:latin typeface="Arial" panose="020B0604020202020204" pitchFamily="34" charset="0"/>
              </a:rPr>
              <a:t/>
            </a:r>
            <a:br>
              <a:rPr lang="cs-CZ" sz="5400" dirty="0" smtClean="0">
                <a:solidFill>
                  <a:schemeClr val="accent2"/>
                </a:solidFill>
                <a:latin typeface="Arial" panose="020B0604020202020204" pitchFamily="34" charset="0"/>
              </a:rPr>
            </a:br>
            <a:r>
              <a:rPr lang="cs-CZ" sz="5400" dirty="0" smtClean="0">
                <a:solidFill>
                  <a:schemeClr val="accent2"/>
                </a:solidFill>
                <a:latin typeface="Arial" panose="020B0604020202020204" pitchFamily="34" charset="0"/>
              </a:rPr>
              <a:t>16. </a:t>
            </a:r>
            <a:r>
              <a:rPr lang="cs-CZ" sz="5400" dirty="0" smtClean="0">
                <a:solidFill>
                  <a:schemeClr val="accent2"/>
                </a:solidFill>
                <a:latin typeface="Arial" panose="020B0604020202020204" pitchFamily="34" charset="0"/>
              </a:rPr>
              <a:t>porada hejtmana</a:t>
            </a:r>
            <a:br>
              <a:rPr lang="cs-CZ" sz="5400" dirty="0" smtClean="0">
                <a:solidFill>
                  <a:schemeClr val="accent2"/>
                </a:solidFill>
                <a:latin typeface="Arial" panose="020B0604020202020204" pitchFamily="34" charset="0"/>
              </a:rPr>
            </a:br>
            <a:r>
              <a:rPr lang="cs-CZ" sz="5400" dirty="0" smtClean="0">
                <a:solidFill>
                  <a:schemeClr val="accent2"/>
                </a:solidFill>
                <a:latin typeface="Arial" panose="020B0604020202020204" pitchFamily="34" charset="0"/>
              </a:rPr>
              <a:t> se starosty ORP ZK</a:t>
            </a:r>
            <a:r>
              <a:rPr lang="cs-CZ" sz="2800" dirty="0">
                <a:solidFill>
                  <a:schemeClr val="accent2"/>
                </a:solidFill>
                <a:latin typeface="Arial" panose="020B0604020202020204" pitchFamily="34" charset="0"/>
              </a:rPr>
              <a:t/>
            </a:r>
            <a:br>
              <a:rPr lang="cs-CZ" sz="2800" dirty="0">
                <a:solidFill>
                  <a:schemeClr val="accent2"/>
                </a:solidFill>
                <a:latin typeface="Arial" panose="020B0604020202020204" pitchFamily="34" charset="0"/>
              </a:rPr>
            </a:br>
            <a:r>
              <a:rPr lang="cs-CZ" sz="2800" dirty="0">
                <a:solidFill>
                  <a:schemeClr val="accent2"/>
                </a:solidFill>
                <a:latin typeface="Arial" panose="020B0604020202020204" pitchFamily="34" charset="0"/>
              </a:rPr>
              <a:t/>
            </a:r>
            <a:br>
              <a:rPr lang="cs-CZ" sz="2800" dirty="0">
                <a:solidFill>
                  <a:schemeClr val="accent2"/>
                </a:solidFill>
                <a:latin typeface="Arial" panose="020B0604020202020204" pitchFamily="34" charset="0"/>
              </a:rPr>
            </a:br>
            <a:r>
              <a:rPr lang="cs-CZ" sz="28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cs-CZ" sz="28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cs-CZ" sz="2800" dirty="0" smtClean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cs-CZ" sz="2800" dirty="0" smtClean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Zlín,</a:t>
            </a:r>
            <a:b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11:00 h; </a:t>
            </a:r>
            <a:b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21. </a:t>
            </a:r>
            <a: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dubna 2021</a:t>
            </a:r>
            <a:b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místnost 1120</a:t>
            </a:r>
            <a:b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Ing. Robert Pekaj</a:t>
            </a:r>
            <a:b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tajemník KŠ ZK </a:t>
            </a:r>
            <a:br>
              <a:rPr lang="cs-CZ" sz="1600" dirty="0" smtClean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cs-CZ" sz="2800" dirty="0" smtClean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cs-CZ" sz="2800" dirty="0" smtClean="0">
                <a:solidFill>
                  <a:schemeClr val="tx1"/>
                </a:solidFill>
                <a:latin typeface="Arial" panose="020B0604020202020204" pitchFamily="34" charset="0"/>
              </a:rPr>
            </a:br>
            <a:endParaRPr lang="cs-CZ" sz="2800" b="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4218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4" name="Zástupný symbol pro obsah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285" y="1484312"/>
            <a:ext cx="10655299" cy="5329063"/>
          </a:xfrm>
        </p:spPr>
      </p:pic>
    </p:spTree>
    <p:extLst>
      <p:ext uri="{BB962C8B-B14F-4D97-AF65-F5344CB8AC3E}">
        <p14:creationId xmlns:p14="http://schemas.microsoft.com/office/powerpoint/2010/main" val="199992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4" name="Zástupný symbol pro obsah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1268760"/>
            <a:ext cx="10297144" cy="5472608"/>
          </a:xfrm>
        </p:spPr>
      </p:pic>
    </p:spTree>
    <p:extLst>
      <p:ext uri="{BB962C8B-B14F-4D97-AF65-F5344CB8AC3E}">
        <p14:creationId xmlns:p14="http://schemas.microsoft.com/office/powerpoint/2010/main" val="1579464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Zástupný symbol pro obsah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632" y="1340768"/>
            <a:ext cx="6192114" cy="3960439"/>
          </a:xfrm>
        </p:spPr>
      </p:pic>
    </p:spTree>
    <p:extLst>
      <p:ext uri="{BB962C8B-B14F-4D97-AF65-F5344CB8AC3E}">
        <p14:creationId xmlns:p14="http://schemas.microsoft.com/office/powerpoint/2010/main" val="34305393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EC0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Skupina 1"/>
          <p:cNvGrpSpPr/>
          <p:nvPr/>
        </p:nvGrpSpPr>
        <p:grpSpPr>
          <a:xfrm>
            <a:off x="123316" y="67376"/>
            <a:ext cx="11925701" cy="1212783"/>
            <a:chOff x="123316" y="67376"/>
            <a:chExt cx="11925701" cy="1212783"/>
          </a:xfrm>
        </p:grpSpPr>
        <p:sp>
          <p:nvSpPr>
            <p:cNvPr id="4" name="Zaoblený obdélník 3"/>
            <p:cNvSpPr/>
            <p:nvPr/>
          </p:nvSpPr>
          <p:spPr>
            <a:xfrm>
              <a:off x="123316" y="67376"/>
              <a:ext cx="11925701" cy="1212783"/>
            </a:xfrm>
            <a:prstGeom prst="roundRect">
              <a:avLst/>
            </a:prstGeom>
            <a:solidFill>
              <a:srgbClr val="00538E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Nadpis 1">
              <a:extLst>
                <a:ext uri="{FF2B5EF4-FFF2-40B4-BE49-F238E27FC236}">
                  <a16:creationId xmlns:a16="http://schemas.microsoft.com/office/drawing/2014/main" id="{50444CAE-0E11-4B1D-AD1D-5792ADA594DB}"/>
                </a:ext>
              </a:extLst>
            </p:cNvPr>
            <p:cNvSpPr txBox="1">
              <a:spLocks/>
            </p:cNvSpPr>
            <p:nvPr/>
          </p:nvSpPr>
          <p:spPr>
            <a:xfrm>
              <a:off x="1897065" y="144626"/>
              <a:ext cx="10039295" cy="827875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4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euton Normal" panose="02000506080000020004" pitchFamily="2" charset="0"/>
                  <a:ea typeface="+mj-ea"/>
                  <a:cs typeface="+mj-cs"/>
                </a:rPr>
                <a:t>Kontroly dodržování testování ve firmách ZK</a:t>
              </a:r>
              <a:endParaRPr kumimoji="0" lang="cs-CZ" alt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uton Normal" panose="02000506080000020004" pitchFamily="2" charset="0"/>
                <a:ea typeface="+mj-ea"/>
                <a:cs typeface="+mj-cs"/>
              </a:endParaRPr>
            </a:p>
          </p:txBody>
        </p:sp>
        <p:pic>
          <p:nvPicPr>
            <p:cNvPr id="9" name="Obrázek 8">
              <a:extLst>
                <a:ext uri="{FF2B5EF4-FFF2-40B4-BE49-F238E27FC236}">
                  <a16:creationId xmlns:a16="http://schemas.microsoft.com/office/drawing/2014/main" id="{24572D85-A9D1-4A60-9210-67A538D236D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862" y="452284"/>
              <a:ext cx="1524204" cy="368332"/>
            </a:xfrm>
            <a:prstGeom prst="rect">
              <a:avLst/>
            </a:prstGeom>
          </p:spPr>
        </p:pic>
      </p:grpSp>
      <p:pic>
        <p:nvPicPr>
          <p:cNvPr id="3" name="Obráze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6" y="1357409"/>
            <a:ext cx="6912768" cy="1423519"/>
          </a:xfrm>
          <a:prstGeom prst="rect">
            <a:avLst/>
          </a:prstGeom>
        </p:spPr>
      </p:pic>
      <p:pic>
        <p:nvPicPr>
          <p:cNvPr id="5" name="Obráze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4668" y="1357409"/>
            <a:ext cx="4874350" cy="5383958"/>
          </a:xfrm>
          <a:prstGeom prst="rect">
            <a:avLst/>
          </a:prstGeom>
        </p:spPr>
      </p:pic>
      <p:pic>
        <p:nvPicPr>
          <p:cNvPr id="8" name="Obrázek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16" y="2996952"/>
            <a:ext cx="6912768" cy="2916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257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Zástupný symbol pro obsah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7" y="620688"/>
            <a:ext cx="5256584" cy="3362794"/>
          </a:xfrm>
          <a:solidFill>
            <a:srgbClr val="F3FBA3"/>
          </a:solidFill>
        </p:spPr>
      </p:pic>
      <p:pic>
        <p:nvPicPr>
          <p:cNvPr id="5" name="Obráze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3912" y="476672"/>
            <a:ext cx="6239746" cy="470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0095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14 denní počet nových případů (na 100 000 obyv.)</a:t>
            </a:r>
            <a:r>
              <a:rPr lang="en-US" dirty="0"/>
              <a:t> v ORP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/>
        </p:nvSpPr>
        <p:spPr>
          <a:xfrm>
            <a:off x="10509040" y="4183455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509040" y="4492181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509040" y="4800907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509040" y="5109633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509040" y="5418359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/>
        </p:nvSpPr>
        <p:spPr>
          <a:xfrm>
            <a:off x="10748797" y="4088789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/>
        </p:nvSpPr>
        <p:spPr>
          <a:xfrm>
            <a:off x="10748797" y="440007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/>
        </p:nvSpPr>
        <p:spPr>
          <a:xfrm>
            <a:off x="10748797" y="471136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/>
        </p:nvSpPr>
        <p:spPr>
          <a:xfrm>
            <a:off x="10748797" y="5022659"/>
            <a:ext cx="12682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/>
        </p:nvSpPr>
        <p:spPr>
          <a:xfrm>
            <a:off x="10748797" y="5333949"/>
            <a:ext cx="14398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1 1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509040" y="5727084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509040" y="6035808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/>
        </p:nvSpPr>
        <p:spPr>
          <a:xfrm>
            <a:off x="10748797" y="5645239"/>
            <a:ext cx="14398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1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/>
        </p:nvSpPr>
        <p:spPr>
          <a:xfrm>
            <a:off x="10748797" y="5956531"/>
            <a:ext cx="8755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extBox 29">
            <a:extLst>
              <a:ext uri="{FF2B5EF4-FFF2-40B4-BE49-F238E27FC236}">
                <a16:creationId xmlns:a16="http://schemas.microsoft.com/office/drawing/2014/main" id="{41BD496B-B1DB-4783-B62F-771740941BE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7384" y="654577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pic>
        <p:nvPicPr>
          <p:cNvPr id="13" name="Picture 12" descr="Map&#10;&#10;Description automatically generated">
            <a:extLst>
              <a:ext uri="{FF2B5EF4-FFF2-40B4-BE49-F238E27FC236}">
                <a16:creationId xmlns:a16="http://schemas.microsoft.com/office/drawing/2014/main" id="{5B3EE2D7-EB23-4DEE-83CA-8A4E8E8A252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84" r="5697"/>
          <a:stretch/>
        </p:blipFill>
        <p:spPr>
          <a:xfrm>
            <a:off x="178264" y="1054687"/>
            <a:ext cx="3590109" cy="2219277"/>
          </a:xfrm>
          <a:prstGeom prst="rect">
            <a:avLst/>
          </a:prstGeom>
        </p:spPr>
      </p:pic>
      <p:sp>
        <p:nvSpPr>
          <p:cNvPr id="27" name="TextBox 29">
            <a:extLst>
              <a:ext uri="{FF2B5EF4-FFF2-40B4-BE49-F238E27FC236}">
                <a16:creationId xmlns:a16="http://schemas.microsoft.com/office/drawing/2014/main" id="{8D218328-959B-4FCE-9A2C-25A0B5849BB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808047" y="747805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pic>
        <p:nvPicPr>
          <p:cNvPr id="25" name="Picture 24" descr="Map&#10;&#10;Description automatically generated">
            <a:extLst>
              <a:ext uri="{FF2B5EF4-FFF2-40B4-BE49-F238E27FC236}">
                <a16:creationId xmlns:a16="http://schemas.microsoft.com/office/drawing/2014/main" id="{65D8BFE4-97FB-4DDA-BC75-CD26CCB79C3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7" r="7615"/>
          <a:stretch/>
        </p:blipFill>
        <p:spPr>
          <a:xfrm>
            <a:off x="3999790" y="1128105"/>
            <a:ext cx="3484517" cy="2160000"/>
          </a:xfrm>
          <a:prstGeom prst="rect">
            <a:avLst/>
          </a:prstGeom>
        </p:spPr>
      </p:pic>
      <p:pic>
        <p:nvPicPr>
          <p:cNvPr id="31" name="Picture 12" descr="Map&#10;&#10;Description automatically generated">
            <a:extLst>
              <a:ext uri="{FF2B5EF4-FFF2-40B4-BE49-F238E27FC236}">
                <a16:creationId xmlns:a16="http://schemas.microsoft.com/office/drawing/2014/main" id="{078D1790-2A55-4D35-B2A3-6D377DE5208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0" r="7941"/>
          <a:stretch/>
        </p:blipFill>
        <p:spPr>
          <a:xfrm>
            <a:off x="8228820" y="1054687"/>
            <a:ext cx="3435848" cy="2162627"/>
          </a:xfrm>
          <a:prstGeom prst="rect">
            <a:avLst/>
          </a:prstGeom>
        </p:spPr>
      </p:pic>
      <p:sp>
        <p:nvSpPr>
          <p:cNvPr id="32" name="TextBox 29">
            <a:extLst>
              <a:ext uri="{FF2B5EF4-FFF2-40B4-BE49-F238E27FC236}">
                <a16:creationId xmlns:a16="http://schemas.microsoft.com/office/drawing/2014/main" id="{8D218328-959B-4FCE-9A2C-25A0B5849BB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68143" y="830434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33" name="TextBox 29">
            <a:extLst>
              <a:ext uri="{FF2B5EF4-FFF2-40B4-BE49-F238E27FC236}">
                <a16:creationId xmlns:a16="http://schemas.microsoft.com/office/drawing/2014/main" id="{743A9488-A89A-4239-AEC7-502354C0E77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78264" y="3787403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.4.2021</a:t>
            </a:r>
          </a:p>
        </p:txBody>
      </p:sp>
      <p:pic>
        <p:nvPicPr>
          <p:cNvPr id="34" name="Picture 22" descr="Map&#10;&#10;Description automatically generated">
            <a:extLst>
              <a:ext uri="{FF2B5EF4-FFF2-40B4-BE49-F238E27FC236}">
                <a16:creationId xmlns:a16="http://schemas.microsoft.com/office/drawing/2014/main" id="{59F91F5F-D4A7-4015-B59E-05E709843CCA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51" r="20071"/>
          <a:stretch/>
        </p:blipFill>
        <p:spPr>
          <a:xfrm>
            <a:off x="178264" y="4288428"/>
            <a:ext cx="3440883" cy="2160000"/>
          </a:xfrm>
          <a:prstGeom prst="rect">
            <a:avLst/>
          </a:prstGeom>
        </p:spPr>
      </p:pic>
      <p:sp>
        <p:nvSpPr>
          <p:cNvPr id="30" name="TextovéPole 29"/>
          <p:cNvSpPr txBox="1"/>
          <p:nvPr/>
        </p:nvSpPr>
        <p:spPr>
          <a:xfrm>
            <a:off x="7416913" y="3787403"/>
            <a:ext cx="291736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ižování populační zátěže pokračuje i po Velikonocích</a:t>
            </a:r>
          </a:p>
        </p:txBody>
      </p:sp>
      <p:sp>
        <p:nvSpPr>
          <p:cNvPr id="28" name="TextBox 29">
            <a:extLst>
              <a:ext uri="{FF2B5EF4-FFF2-40B4-BE49-F238E27FC236}">
                <a16:creationId xmlns:a16="http://schemas.microsoft.com/office/drawing/2014/main" id="{8784B7AD-0153-4E97-80CE-C680F3711F1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129751" y="3787403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4DE4DCDB-B9B8-4310-85BF-6838D9FD49EB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62" r="9486"/>
          <a:stretch/>
        </p:blipFill>
        <p:spPr>
          <a:xfrm>
            <a:off x="3678904" y="4253949"/>
            <a:ext cx="3427986" cy="2160000"/>
          </a:xfrm>
          <a:prstGeom prst="rect">
            <a:avLst/>
          </a:prstGeom>
        </p:spPr>
      </p:pic>
      <p:sp>
        <p:nvSpPr>
          <p:cNvPr id="2" name="Šipka doprava 1"/>
          <p:cNvSpPr/>
          <p:nvPr>
            <p:custDataLst>
              <p:tags r:id="rId11"/>
            </p:custDataLst>
          </p:nvPr>
        </p:nvSpPr>
        <p:spPr>
          <a:xfrm rot="10800000">
            <a:off x="6737849" y="3699986"/>
            <a:ext cx="572655" cy="92617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022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F419A08E-E94D-4A6D-A5FE-AF9226C7205E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40" r="9192"/>
          <a:stretch/>
        </p:blipFill>
        <p:spPr>
          <a:xfrm>
            <a:off x="155250" y="1409428"/>
            <a:ext cx="8085357" cy="5040000"/>
          </a:xfrm>
          <a:prstGeom prst="rect">
            <a:avLst/>
          </a:prstGeom>
        </p:spPr>
      </p:pic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14 denní počet nových případů (na 100 000 obyv.)</a:t>
            </a:r>
            <a:r>
              <a:rPr lang="en-US" dirty="0"/>
              <a:t> v ORP</a:t>
            </a:r>
            <a:endParaRPr lang="cs-CZ" dirty="0">
              <a:latin typeface="+mj-lt"/>
            </a:endParaRPr>
          </a:p>
        </p:txBody>
      </p:sp>
      <p:sp>
        <p:nvSpPr>
          <p:cNvPr id="33" name="TextBox 29">
            <a:extLst>
              <a:ext uri="{FF2B5EF4-FFF2-40B4-BE49-F238E27FC236}">
                <a16:creationId xmlns:a16="http://schemas.microsoft.com/office/drawing/2014/main" id="{743A9488-A89A-4239-AEC7-502354C0E77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09211" y="902234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7.4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2C22A64-9086-4559-88FB-03C263DDA9C9}"/>
              </a:ext>
            </a:extLst>
          </p:cNvPr>
          <p:cNvSpPr/>
          <p:nvPr/>
        </p:nvSpPr>
        <p:spPr>
          <a:xfrm>
            <a:off x="8337340" y="2440380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899E6E6-107B-4ADD-A788-7098EF4411D1}"/>
              </a:ext>
            </a:extLst>
          </p:cNvPr>
          <p:cNvSpPr/>
          <p:nvPr/>
        </p:nvSpPr>
        <p:spPr>
          <a:xfrm>
            <a:off x="8337340" y="2749106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1F25D43-E695-4FB8-9787-0A2FEF8D05FA}"/>
              </a:ext>
            </a:extLst>
          </p:cNvPr>
          <p:cNvSpPr/>
          <p:nvPr/>
        </p:nvSpPr>
        <p:spPr>
          <a:xfrm>
            <a:off x="8337340" y="3057832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C78911-6AB7-4C49-BEB7-1045E130A55E}"/>
              </a:ext>
            </a:extLst>
          </p:cNvPr>
          <p:cNvSpPr/>
          <p:nvPr/>
        </p:nvSpPr>
        <p:spPr>
          <a:xfrm>
            <a:off x="8337340" y="3366558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9AF2BC5-BC96-4331-AFB6-6E2D5E47B2B8}"/>
              </a:ext>
            </a:extLst>
          </p:cNvPr>
          <p:cNvSpPr/>
          <p:nvPr/>
        </p:nvSpPr>
        <p:spPr>
          <a:xfrm>
            <a:off x="8337340" y="3675284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75481F8-95EC-406B-AC1B-7FAAEADFF5D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577097" y="2345714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1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F5874DA-B216-426E-B437-D8BB204B0F7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577097" y="2657004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AC41FD4-DE9C-4584-BD0C-E3E2FBB42D6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577097" y="2968294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0F2E40E-DD94-43A7-B4A8-DFDDDDCBAFB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77097" y="3279584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31944F2-F7AB-4E7D-8C26-00AEF2207EC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577097" y="3590874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EA88519-738C-496B-A5C4-F33EA96BF8FF}"/>
              </a:ext>
            </a:extLst>
          </p:cNvPr>
          <p:cNvSpPr/>
          <p:nvPr/>
        </p:nvSpPr>
        <p:spPr>
          <a:xfrm>
            <a:off x="8337340" y="3984009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7368DD5-6089-4C93-9F93-D0AAA1FCE2FE}"/>
              </a:ext>
            </a:extLst>
          </p:cNvPr>
          <p:cNvSpPr/>
          <p:nvPr/>
        </p:nvSpPr>
        <p:spPr>
          <a:xfrm>
            <a:off x="8337340" y="4292733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FEB18BD-0AE1-4B7F-B8B0-0D86AD9FCC8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577097" y="3902164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BFCD802-5646-4783-A39E-3662FF2F9AA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577097" y="4213456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6421443" y="848055"/>
            <a:ext cx="501534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vá číselná škála: nových případů za týden na 100 tis. obyvatel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65034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ulka 8">
            <a:extLst>
              <a:ext uri="{FF2B5EF4-FFF2-40B4-BE49-F238E27FC236}">
                <a16:creationId xmlns:a16="http://schemas.microsoft.com/office/drawing/2014/main" id="{7F7C1951-D37C-440D-9CB2-FD4E1160FE73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/>
          </p:nvPr>
        </p:nvGraphicFramePr>
        <p:xfrm>
          <a:off x="197157" y="1123117"/>
          <a:ext cx="11797686" cy="148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5427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2353101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126272650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45180415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37331450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49886245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91621254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0060369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09464290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686944603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932876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90519118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856643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3.–10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3.–17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3.–24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3.–31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4.–7. 4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4.–14. 4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9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7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8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6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9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913717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7,8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5,2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,4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0,5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0,7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343836"/>
                  </a:ext>
                </a:extLst>
              </a:tr>
            </a:tbl>
          </a:graphicData>
        </a:graphic>
      </p:graphicFrame>
      <p:graphicFrame>
        <p:nvGraphicFramePr>
          <p:cNvPr id="39" name="Chart 4">
            <a:extLst>
              <a:ext uri="{FF2B5EF4-FFF2-40B4-BE49-F238E27FC236}">
                <a16:creationId xmlns:a16="http://schemas.microsoft.com/office/drawing/2014/main" id="{F3B3A751-5826-48A2-8A63-61032D0536F8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81739" y="2"/>
            <a:ext cx="7776839" cy="576000"/>
          </a:xfrm>
        </p:spPr>
        <p:txBody>
          <a:bodyPr/>
          <a:lstStyle/>
          <a:p>
            <a:r>
              <a:rPr lang="cs-CZ" dirty="0"/>
              <a:t>Počty nově diagnostikovaných pacientů: týdenní vývoj v ZLK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5E47396A-300A-47BC-A5A2-A0A901ACEAC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79060" y="721240"/>
            <a:ext cx="116089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ynamika vývoje počtů pozitivních diagnóz ukazuje na zpomalení šíření.</a:t>
            </a:r>
          </a:p>
        </p:txBody>
      </p:sp>
      <p:sp>
        <p:nvSpPr>
          <p:cNvPr id="32" name="Zahnutá šipka nahoru 25">
            <a:extLst>
              <a:ext uri="{FF2B5EF4-FFF2-40B4-BE49-F238E27FC236}">
                <a16:creationId xmlns:a16="http://schemas.microsoft.com/office/drawing/2014/main" id="{0BBE6A33-48F0-49E1-9234-59BBC97607D7}"/>
              </a:ext>
            </a:extLst>
          </p:cNvPr>
          <p:cNvSpPr/>
          <p:nvPr/>
        </p:nvSpPr>
        <p:spPr>
          <a:xfrm>
            <a:off x="1203450" y="2464775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C140FC7B-E4FD-4E67-92ED-DBF34CACB88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172865" y="2464775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Zahnutá šipka nahoru 25">
            <a:extLst>
              <a:ext uri="{FF2B5EF4-FFF2-40B4-BE49-F238E27FC236}">
                <a16:creationId xmlns:a16="http://schemas.microsoft.com/office/drawing/2014/main" id="{595E001A-4FCA-4DDB-8C25-BFD9173BD47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16865" y="2464775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FEEB2FF7-BE27-405C-9A19-734E8CFD46B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7086280" y="2464775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4F4AAAE2-F558-418C-BAA2-D0B97D253513}"/>
              </a:ext>
            </a:extLst>
          </p:cNvPr>
          <p:cNvSpPr/>
          <p:nvPr/>
        </p:nvSpPr>
        <p:spPr>
          <a:xfrm>
            <a:off x="9056914" y="2464775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944A33EE-8359-4881-95B8-54951F6A3B30}"/>
              </a:ext>
            </a:extLst>
          </p:cNvPr>
          <p:cNvGrpSpPr/>
          <p:nvPr/>
        </p:nvGrpSpPr>
        <p:grpSpPr>
          <a:xfrm>
            <a:off x="10590672" y="604640"/>
            <a:ext cx="1601328" cy="369333"/>
            <a:chOff x="12350220" y="6820895"/>
            <a:chExt cx="2317881" cy="534600"/>
          </a:xfrm>
        </p:grpSpPr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640671BB-CDEE-4330-88AA-05D61E46D2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18" name="Obrázek 17">
              <a:extLst>
                <a:ext uri="{FF2B5EF4-FFF2-40B4-BE49-F238E27FC236}">
                  <a16:creationId xmlns:a16="http://schemas.microsoft.com/office/drawing/2014/main" id="{7A3169E1-0A1C-4F0F-8A29-5AF98FA698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  <p:sp>
        <p:nvSpPr>
          <p:cNvPr id="14" name="TextovéPole 13"/>
          <p:cNvSpPr txBox="1"/>
          <p:nvPr/>
        </p:nvSpPr>
        <p:spPr>
          <a:xfrm>
            <a:off x="4511825" y="3394097"/>
            <a:ext cx="7275066" cy="769441"/>
          </a:xfrm>
          <a:prstGeom prst="rect">
            <a:avLst/>
          </a:prstGeom>
          <a:solidFill>
            <a:srgbClr val="F3FBA3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K byl po 1.1. 2021 zasažen jako poslední z krajů.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tuace je zde stabilní, epidemie neroste. 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00249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4276165"/>
            <a:ext cx="12192000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14 dní na 100 000 obyvatel: </a:t>
            </a:r>
            <a:r>
              <a:rPr lang="pl-PL" sz="2000" dirty="0" smtClean="0">
                <a:latin typeface="+mn-lt"/>
              </a:rPr>
              <a:t>srovnání krajů </a:t>
            </a:r>
            <a:r>
              <a:rPr lang="pl-PL" sz="2000" dirty="0">
                <a:latin typeface="+mn-lt"/>
              </a:rPr>
              <a:t>k 16.4.</a:t>
            </a:r>
            <a:endParaRPr lang="cs-CZ" sz="2000" dirty="0">
              <a:latin typeface="+mn-l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5C97793-062D-4757-9002-5D3EDD94FF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234301" y="94548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CF22DBF-503E-475F-ABB6-4F1719925EF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972925" y="945486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A3AFA35-8D74-49DD-A9AE-F1136BCFB91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13483" y="88159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.4.2021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5102B32-248C-4CF9-B0E8-ACCEB4FFFAD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217861" y="88159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4.2021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E85FA95-C1A5-4C64-9392-6663D81F7BAD}"/>
              </a:ext>
            </a:extLst>
          </p:cNvPr>
          <p:cNvGraphicFramePr/>
          <p:nvPr>
            <p:custDataLst>
              <p:tags r:id="rId7"/>
            </p:custDataLst>
            <p:extLst/>
          </p:nvPr>
        </p:nvGraphicFramePr>
        <p:xfrm>
          <a:off x="5455810" y="1253263"/>
          <a:ext cx="5284840" cy="5560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C708B705-FA31-423A-B652-0980AE4BADB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357351" y="945486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13FE053-56B7-48EF-A37F-8CBC7B0054A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9536533" y="88159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6.4.2021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10"/>
            </p:custDataLst>
            <p:extLst/>
          </p:nvPr>
        </p:nvGraphicFramePr>
        <p:xfrm>
          <a:off x="107807" y="1216419"/>
          <a:ext cx="5284840" cy="55969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" name="TextovéPole 1"/>
          <p:cNvSpPr txBox="1"/>
          <p:nvPr/>
        </p:nvSpPr>
        <p:spPr>
          <a:xfrm>
            <a:off x="9293852" y="4879071"/>
            <a:ext cx="2773795" cy="58477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y viditelně klesají ve všech krajích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Šipka doprava 2"/>
          <p:cNvSpPr/>
          <p:nvPr/>
        </p:nvSpPr>
        <p:spPr>
          <a:xfrm>
            <a:off x="5591944" y="2708920"/>
            <a:ext cx="576064" cy="1440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Šipka doprava 3"/>
          <p:cNvSpPr/>
          <p:nvPr/>
        </p:nvSpPr>
        <p:spPr>
          <a:xfrm>
            <a:off x="88940" y="2674284"/>
            <a:ext cx="648072" cy="1440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04121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6382871"/>
            <a:ext cx="12192000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14 dní na 100 000 obyvatel: 15 okresů s nejvyššími hodnotami k 16.4.</a:t>
            </a:r>
            <a:endParaRPr lang="cs-CZ" sz="2000" dirty="0">
              <a:latin typeface="+mn-l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5C97793-062D-4757-9002-5D3EDD94FF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411808" y="94548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CF22DBF-503E-475F-ABB6-4F1719925EF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150432" y="945486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A3AFA35-8D74-49DD-A9AE-F1136BCFB91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590990" y="88159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.4.2021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5102B32-248C-4CF9-B0E8-ACCEB4FFFAD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395368" y="88159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4.2021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E85FA95-C1A5-4C64-9392-6663D81F7BAD}"/>
              </a:ext>
            </a:extLst>
          </p:cNvPr>
          <p:cNvGraphicFramePr/>
          <p:nvPr>
            <p:custDataLst>
              <p:tags r:id="rId7"/>
            </p:custDataLst>
            <p:extLst/>
          </p:nvPr>
        </p:nvGraphicFramePr>
        <p:xfrm>
          <a:off x="5633317" y="1253263"/>
          <a:ext cx="528484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C708B705-FA31-423A-B652-0980AE4BADB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534858" y="945486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13FE053-56B7-48EF-A37F-8CBC7B0054A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9714040" y="88159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6.4.2021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10"/>
            </p:custDataLst>
            <p:extLst/>
          </p:nvPr>
        </p:nvGraphicFramePr>
        <p:xfrm>
          <a:off x="358147" y="1189374"/>
          <a:ext cx="5284840" cy="57206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2" name="TextovéPole 11"/>
          <p:cNvSpPr txBox="1"/>
          <p:nvPr/>
        </p:nvSpPr>
        <p:spPr>
          <a:xfrm>
            <a:off x="9714040" y="2371517"/>
            <a:ext cx="2230920" cy="52322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5 nejvíce zatížených okresů: hodnoty klesají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Šipka doprava 1"/>
          <p:cNvSpPr/>
          <p:nvPr/>
        </p:nvSpPr>
        <p:spPr>
          <a:xfrm>
            <a:off x="5447928" y="3645024"/>
            <a:ext cx="1152128" cy="1440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58603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6888088" y="476672"/>
            <a:ext cx="3168352" cy="360039"/>
          </a:xfrm>
        </p:spPr>
        <p:txBody>
          <a:bodyPr/>
          <a:lstStyle/>
          <a:p>
            <a:r>
              <a:rPr lang="cs-CZ" dirty="0">
                <a:solidFill>
                  <a:schemeClr val="tx1"/>
                </a:solidFill>
              </a:rPr>
              <a:t>Program jednání: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0" y="1268760"/>
            <a:ext cx="12144672" cy="6408712"/>
          </a:xfrm>
        </p:spPr>
        <p:txBody>
          <a:bodyPr/>
          <a:lstStyle/>
          <a:p>
            <a:pPr marL="0" indent="0" algn="just">
              <a:lnSpc>
                <a:spcPct val="90000"/>
              </a:lnSpc>
            </a:pPr>
            <a:endParaRPr lang="cs-CZ" sz="2400" b="1" dirty="0" smtClean="0"/>
          </a:p>
          <a:p>
            <a:pPr marL="0" indent="0" algn="just">
              <a:lnSpc>
                <a:spcPct val="90000"/>
              </a:lnSpc>
            </a:pPr>
            <a:r>
              <a:rPr lang="cs-CZ" sz="2400" b="1" dirty="0" smtClean="0"/>
              <a:t>Úvod</a:t>
            </a:r>
          </a:p>
          <a:p>
            <a:pPr marL="457200" indent="-457200" algn="just">
              <a:lnSpc>
                <a:spcPct val="90000"/>
              </a:lnSpc>
              <a:buAutoNum type="arabicPeriod"/>
            </a:pPr>
            <a:r>
              <a:rPr lang="cs-CZ" sz="2400" b="1" dirty="0" smtClean="0"/>
              <a:t>Informace ředitele KŘ policie ZK</a:t>
            </a:r>
          </a:p>
          <a:p>
            <a:pPr marL="457200" indent="-457200" algn="just">
              <a:lnSpc>
                <a:spcPct val="90000"/>
              </a:lnSpc>
              <a:buAutoNum type="arabicPeriod"/>
            </a:pPr>
            <a:r>
              <a:rPr lang="cs-CZ" sz="2400" b="1" dirty="0" smtClean="0"/>
              <a:t>Informace o aktuální EPI situaci a predikce vývoje ve ZK</a:t>
            </a:r>
          </a:p>
          <a:p>
            <a:pPr marL="457200" indent="-457200" algn="just">
              <a:lnSpc>
                <a:spcPct val="90000"/>
              </a:lnSpc>
              <a:buAutoNum type="arabicPeriod"/>
            </a:pPr>
            <a:r>
              <a:rPr lang="cs-CZ" sz="2400" b="1" dirty="0" smtClean="0"/>
              <a:t>Testování na území ZK</a:t>
            </a:r>
          </a:p>
          <a:p>
            <a:pPr marL="457200" indent="-457200" algn="just">
              <a:lnSpc>
                <a:spcPct val="90000"/>
              </a:lnSpc>
              <a:buAutoNum type="arabicPeriod"/>
            </a:pPr>
            <a:r>
              <a:rPr lang="cs-CZ" sz="2400" b="1" dirty="0" smtClean="0"/>
              <a:t>Informace o situaci v nemocnicích ZK</a:t>
            </a:r>
          </a:p>
          <a:p>
            <a:pPr marL="457200" indent="-457200" algn="just">
              <a:lnSpc>
                <a:spcPct val="90000"/>
              </a:lnSpc>
              <a:buAutoNum type="arabicPeriod"/>
            </a:pPr>
            <a:r>
              <a:rPr lang="cs-CZ" sz="2400" b="1" dirty="0" smtClean="0"/>
              <a:t>Informace o situaci v zařízeních sociálních služeb</a:t>
            </a:r>
          </a:p>
          <a:p>
            <a:pPr marL="457200" indent="-457200" algn="just">
              <a:lnSpc>
                <a:spcPct val="90000"/>
              </a:lnSpc>
              <a:buAutoNum type="arabicPeriod"/>
            </a:pPr>
            <a:r>
              <a:rPr lang="cs-CZ" sz="2400" b="1" dirty="0" smtClean="0"/>
              <a:t>Informace z oblasti školství</a:t>
            </a:r>
          </a:p>
          <a:p>
            <a:pPr marL="457200" indent="-457200" algn="just">
              <a:lnSpc>
                <a:spcPct val="90000"/>
              </a:lnSpc>
              <a:buFontTx/>
              <a:buAutoNum type="arabicPeriod"/>
            </a:pPr>
            <a:r>
              <a:rPr lang="cs-CZ" sz="2400" b="1" dirty="0" smtClean="0"/>
              <a:t>Průběh vakcinace ve ZK</a:t>
            </a:r>
          </a:p>
          <a:p>
            <a:pPr marL="457200" indent="-457200" algn="just">
              <a:lnSpc>
                <a:spcPct val="90000"/>
              </a:lnSpc>
              <a:buAutoNum type="arabicPeriod"/>
            </a:pPr>
            <a:r>
              <a:rPr lang="cs-CZ" sz="2400" b="1" dirty="0" smtClean="0"/>
              <a:t>Různé</a:t>
            </a:r>
          </a:p>
          <a:p>
            <a:pPr marL="0" indent="0" algn="just">
              <a:lnSpc>
                <a:spcPct val="90000"/>
              </a:lnSpc>
            </a:pPr>
            <a:r>
              <a:rPr lang="cs-CZ" sz="2400" b="1" dirty="0" smtClean="0"/>
              <a:t>Závěr</a:t>
            </a:r>
          </a:p>
          <a:p>
            <a:pPr marL="0" indent="0" algn="just">
              <a:lnSpc>
                <a:spcPct val="90000"/>
              </a:lnSpc>
            </a:pPr>
            <a:endParaRPr lang="cs-CZ" sz="2400" b="1" dirty="0"/>
          </a:p>
        </p:txBody>
      </p:sp>
    </p:spTree>
    <p:extLst>
      <p:ext uri="{BB962C8B-B14F-4D97-AF65-F5344CB8AC3E}">
        <p14:creationId xmlns:p14="http://schemas.microsoft.com/office/powerpoint/2010/main" val="3918377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abulka 8">
            <a:extLst>
              <a:ext uri="{FF2B5EF4-FFF2-40B4-BE49-F238E27FC236}">
                <a16:creationId xmlns:a16="http://schemas.microsoft.com/office/drawing/2014/main" id="{19DAA002-E30C-4D5C-97E3-6E0CA7509E0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/>
          </p:nvPr>
        </p:nvGraphicFramePr>
        <p:xfrm>
          <a:off x="146287" y="715094"/>
          <a:ext cx="11797686" cy="148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5427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2353101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126272650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45180415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37331450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49886245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91621254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0060369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09464290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686944603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932876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90519118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856643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.3 - 13.3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.3 - 20.3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.3 - 27.3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3 - 3.4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4 - 10.4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4 - 17.4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21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48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77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63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86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74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913717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343836"/>
                  </a:ext>
                </a:extLst>
              </a:tr>
            </a:tbl>
          </a:graphicData>
        </a:graphic>
      </p:graphicFrame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877396" y="4169765"/>
            <a:ext cx="2829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8581"/>
            <a:ext cx="1900937" cy="1908215"/>
            <a:chOff x="10258697" y="3527722"/>
            <a:chExt cx="1900937" cy="1908215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D1B3FBA-E128-4E3B-A481-9ABC867903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47DC97C-FD01-4FD4-8BED-64EC65B6A8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7722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poč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8A11B017-1740-4D99-AF40-0CE45544A6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7C5A792-BEB3-40F4-98BB-7431BA7FEF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ovéPole 22"/>
          <p:cNvSpPr txBox="1"/>
          <p:nvPr/>
        </p:nvSpPr>
        <p:spPr>
          <a:xfrm>
            <a:off x="6416566" y="36804"/>
            <a:ext cx="4004907" cy="5847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8" name="Zahnutá šipka nahoru 25">
            <a:extLst>
              <a:ext uri="{FF2B5EF4-FFF2-40B4-BE49-F238E27FC236}">
                <a16:creationId xmlns:a16="http://schemas.microsoft.com/office/drawing/2014/main" id="{E359B7D7-130C-4173-9EFC-47F321C82F4E}"/>
              </a:ext>
            </a:extLst>
          </p:cNvPr>
          <p:cNvSpPr/>
          <p:nvPr/>
        </p:nvSpPr>
        <p:spPr>
          <a:xfrm>
            <a:off x="1203450" y="2013982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/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Zahnutá šipka nahoru 25">
            <a:extLst>
              <a:ext uri="{FF2B5EF4-FFF2-40B4-BE49-F238E27FC236}">
                <a16:creationId xmlns:a16="http://schemas.microsoft.com/office/drawing/2014/main" id="{64D205E5-DBC4-422A-BF09-BCA621280F66}"/>
              </a:ext>
            </a:extLst>
          </p:cNvPr>
          <p:cNvSpPr/>
          <p:nvPr/>
        </p:nvSpPr>
        <p:spPr>
          <a:xfrm>
            <a:off x="9056914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4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751072" y="2511822"/>
          <a:ext cx="11080443" cy="4379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1" name="Zástupný symbol pro obsah 2"/>
          <p:cNvSpPr txBox="1">
            <a:spLocks/>
          </p:cNvSpPr>
          <p:nvPr/>
        </p:nvSpPr>
        <p:spPr bwMode="auto">
          <a:xfrm>
            <a:off x="0" y="1"/>
            <a:ext cx="5760640" cy="715093"/>
          </a:xfrm>
          <a:prstGeom prst="rect">
            <a:avLst/>
          </a:prstGeom>
          <a:solidFill>
            <a:srgbClr val="F3FBA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600" b="1" i="0" u="none" strike="noStrike" kern="0" cap="none" spc="0" normalizeH="0" baseline="0" noProof="0" dirty="0" smtClean="0">
              <a:ln>
                <a:noFill/>
              </a:ln>
              <a:solidFill>
                <a:srgbClr val="333399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c. MUDr. Filip, Ph.D., prim. doc. MUDr. </a:t>
            </a:r>
            <a:r>
              <a:rPr kumimoji="0" lang="cs-CZ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abrhelík</a:t>
            </a:r>
            <a:r>
              <a:rPr kumimoji="0" lang="cs-CZ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s-CZ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h.D</a:t>
            </a:r>
            <a:r>
              <a:rPr kumimoji="0" lang="cs-CZ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9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ůžkové kapacity, predikce vytíženosti, personální stav, kapacita, vytíženost</a:t>
            </a:r>
          </a:p>
        </p:txBody>
      </p:sp>
    </p:spTree>
    <p:extLst>
      <p:ext uri="{BB962C8B-B14F-4D97-AF65-F5344CB8AC3E}">
        <p14:creationId xmlns:p14="http://schemas.microsoft.com/office/powerpoint/2010/main" val="3490160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9588" y="3973640"/>
            <a:ext cx="28293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19677" y="4073381"/>
            <a:ext cx="1900937" cy="1908215"/>
            <a:chOff x="10258697" y="3527722"/>
            <a:chExt cx="1900937" cy="1908215"/>
          </a:xfrm>
        </p:grpSpPr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AD1B3FBA-E128-4E3B-A481-9ABC867903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D47DC97C-FD01-4FD4-8BED-64EC65B6A8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Obdélník 27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7722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poč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8A11B017-1740-4D99-AF40-0CE45544A6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07C5A792-BEB3-40F4-98BB-7431BA7FEF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7" name="Tabulka 8">
            <a:extLst>
              <a:ext uri="{FF2B5EF4-FFF2-40B4-BE49-F238E27FC236}">
                <a16:creationId xmlns:a16="http://schemas.microsoft.com/office/drawing/2014/main" id="{6B7F79D0-8EDC-4EB5-A2DD-9DA744FC0BC3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/>
          </p:nvPr>
        </p:nvGraphicFramePr>
        <p:xfrm>
          <a:off x="187920" y="496835"/>
          <a:ext cx="11797686" cy="148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5427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2353101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126272650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45180415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37331450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49886245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91621254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0060369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09464290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686944603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932876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90519118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856643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.3 - 13.3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.3 - 20.3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.3 - 27.3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3 - 3.4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4 - 10.4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4 - 17.4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7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6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7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0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913717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6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343836"/>
                  </a:ext>
                </a:extLst>
              </a:tr>
            </a:tbl>
          </a:graphicData>
        </a:graphic>
      </p:graphicFrame>
      <p:sp>
        <p:nvSpPr>
          <p:cNvPr id="38" name="Zahnutá šipka nahoru 25">
            <a:extLst>
              <a:ext uri="{FF2B5EF4-FFF2-40B4-BE49-F238E27FC236}">
                <a16:creationId xmlns:a16="http://schemas.microsoft.com/office/drawing/2014/main" id="{3D31CB96-ADEB-47C9-A675-E23FD094E077}"/>
              </a:ext>
            </a:extLst>
          </p:cNvPr>
          <p:cNvSpPr/>
          <p:nvPr/>
        </p:nvSpPr>
        <p:spPr>
          <a:xfrm>
            <a:off x="1194213" y="1838493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Zahnutá šipka nahoru 25">
            <a:extLst>
              <a:ext uri="{FF2B5EF4-FFF2-40B4-BE49-F238E27FC236}">
                <a16:creationId xmlns:a16="http://schemas.microsoft.com/office/drawing/2014/main" id="{531FA440-D950-4855-8A5A-41583949B9D7}"/>
              </a:ext>
            </a:extLst>
          </p:cNvPr>
          <p:cNvSpPr/>
          <p:nvPr/>
        </p:nvSpPr>
        <p:spPr>
          <a:xfrm>
            <a:off x="3163628" y="1838493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Zahnutá šipka nahoru 25">
            <a:extLst>
              <a:ext uri="{FF2B5EF4-FFF2-40B4-BE49-F238E27FC236}">
                <a16:creationId xmlns:a16="http://schemas.microsoft.com/office/drawing/2014/main" id="{EED5D406-688B-4028-B433-E17549E6B582}"/>
              </a:ext>
            </a:extLst>
          </p:cNvPr>
          <p:cNvSpPr/>
          <p:nvPr/>
        </p:nvSpPr>
        <p:spPr>
          <a:xfrm>
            <a:off x="5107628" y="1838493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Zahnutá šipka nahoru 25">
            <a:extLst>
              <a:ext uri="{FF2B5EF4-FFF2-40B4-BE49-F238E27FC236}">
                <a16:creationId xmlns:a16="http://schemas.microsoft.com/office/drawing/2014/main" id="{239684B6-1F9E-4D4A-99B3-465E0D266E48}"/>
              </a:ext>
            </a:extLst>
          </p:cNvPr>
          <p:cNvSpPr/>
          <p:nvPr/>
        </p:nvSpPr>
        <p:spPr>
          <a:xfrm>
            <a:off x="7077043" y="1838493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Zahnutá šipka nahoru 25">
            <a:extLst>
              <a:ext uri="{FF2B5EF4-FFF2-40B4-BE49-F238E27FC236}">
                <a16:creationId xmlns:a16="http://schemas.microsoft.com/office/drawing/2014/main" id="{014848F3-E01B-4FEE-A43C-793BB5BF9DED}"/>
              </a:ext>
            </a:extLst>
          </p:cNvPr>
          <p:cNvSpPr/>
          <p:nvPr/>
        </p:nvSpPr>
        <p:spPr>
          <a:xfrm>
            <a:off x="9047677" y="1838493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8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728259" y="2354321"/>
          <a:ext cx="10997787" cy="45036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725335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9062719" y="2572320"/>
            <a:ext cx="2923309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akutní lůžka C+ pacien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.4.2021 00:17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83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25"/>
          <p:cNvSpPr/>
          <p:nvPr/>
        </p:nvSpPr>
        <p:spPr>
          <a:xfrm>
            <a:off x="2888055" y="5642423"/>
            <a:ext cx="34392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Nemocnice s aktualizací starší 48 hod.: </a:t>
            </a:r>
            <a:r>
              <a:rPr kumimoji="0" lang="pl-PL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5</a:t>
            </a:r>
            <a:r>
              <a:rPr kumimoji="0" lang="pl-PL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x</a:t>
            </a:r>
            <a:r>
              <a:rPr kumimoji="0" lang="pl-P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9" name="Obrázek 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816" y="6011755"/>
            <a:ext cx="8628301" cy="258300"/>
          </a:xfrm>
          <a:prstGeom prst="rect">
            <a:avLst/>
          </a:prstGeom>
        </p:spPr>
      </p:pic>
      <p:graphicFrame>
        <p:nvGraphicFramePr>
          <p:cNvPr id="4" name="Tabulka 3"/>
          <p:cNvGraphicFramePr>
            <a:graphicFrameLocks noGrp="1"/>
          </p:cNvGraphicFramePr>
          <p:nvPr>
            <p:extLst/>
          </p:nvPr>
        </p:nvGraphicFramePr>
        <p:xfrm>
          <a:off x="220473" y="958048"/>
          <a:ext cx="8842245" cy="4758774"/>
        </p:xfrm>
        <a:graphic>
          <a:graphicData uri="http://schemas.openxmlformats.org/drawingml/2006/table">
            <a:tbl>
              <a:tblPr/>
              <a:tblGrid>
                <a:gridCol w="2260539">
                  <a:extLst>
                    <a:ext uri="{9D8B030D-6E8A-4147-A177-3AD203B41FA5}">
                      <a16:colId xmlns:a16="http://schemas.microsoft.com/office/drawing/2014/main" val="3370484015"/>
                    </a:ext>
                  </a:extLst>
                </a:gridCol>
                <a:gridCol w="1384004">
                  <a:extLst>
                    <a:ext uri="{9D8B030D-6E8A-4147-A177-3AD203B41FA5}">
                      <a16:colId xmlns:a16="http://schemas.microsoft.com/office/drawing/2014/main" val="2747518957"/>
                    </a:ext>
                  </a:extLst>
                </a:gridCol>
                <a:gridCol w="1280202">
                  <a:extLst>
                    <a:ext uri="{9D8B030D-6E8A-4147-A177-3AD203B41FA5}">
                      <a16:colId xmlns:a16="http://schemas.microsoft.com/office/drawing/2014/main" val="1208640556"/>
                    </a:ext>
                  </a:extLst>
                </a:gridCol>
                <a:gridCol w="1268670">
                  <a:extLst>
                    <a:ext uri="{9D8B030D-6E8A-4147-A177-3AD203B41FA5}">
                      <a16:colId xmlns:a16="http://schemas.microsoft.com/office/drawing/2014/main" val="401708756"/>
                    </a:ext>
                  </a:extLst>
                </a:gridCol>
                <a:gridCol w="1322493">
                  <a:extLst>
                    <a:ext uri="{9D8B030D-6E8A-4147-A177-3AD203B41FA5}">
                      <a16:colId xmlns:a16="http://schemas.microsoft.com/office/drawing/2014/main" val="1628125838"/>
                    </a:ext>
                  </a:extLst>
                </a:gridCol>
                <a:gridCol w="1326337">
                  <a:extLst>
                    <a:ext uri="{9D8B030D-6E8A-4147-A177-3AD203B41FA5}">
                      <a16:colId xmlns:a16="http://schemas.microsoft.com/office/drawing/2014/main" val="3453521437"/>
                    </a:ext>
                  </a:extLst>
                </a:gridCol>
              </a:tblGrid>
              <a:tr h="220184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akutních lůžek (ARO + JIP) v ČR k 20.4. 2021, 12:30 h</a:t>
                      </a:r>
                    </a:p>
                  </a:txBody>
                  <a:tcPr marL="7410" marR="7410" marT="74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4486021"/>
                  </a:ext>
                </a:extLst>
              </a:tr>
              <a:tr h="185760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0108199"/>
                  </a:ext>
                </a:extLst>
              </a:tr>
              <a:tr h="22018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utní lůžka IP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1353294"/>
                  </a:ext>
                </a:extLst>
              </a:tr>
              <a:tr h="63696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/CPAP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/CPAPpro Covid+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/NIV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/NIV pro Covid+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243383"/>
                  </a:ext>
                </a:extLst>
              </a:tr>
              <a:tr h="19659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4647549"/>
                  </a:ext>
                </a:extLst>
              </a:tr>
              <a:tr h="19659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4648131"/>
                  </a:ext>
                </a:extLst>
              </a:tr>
              <a:tr h="19659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7785095"/>
                  </a:ext>
                </a:extLst>
              </a:tr>
              <a:tr h="19659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242816"/>
                  </a:ext>
                </a:extLst>
              </a:tr>
              <a:tr h="19659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6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878755"/>
                  </a:ext>
                </a:extLst>
              </a:tr>
              <a:tr h="19659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688990"/>
                  </a:ext>
                </a:extLst>
              </a:tr>
              <a:tr h="19659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9555388"/>
                  </a:ext>
                </a:extLst>
              </a:tr>
              <a:tr h="19659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471606"/>
                  </a:ext>
                </a:extLst>
              </a:tr>
              <a:tr h="19659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873299"/>
                  </a:ext>
                </a:extLst>
              </a:tr>
              <a:tr h="19659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5123347"/>
                  </a:ext>
                </a:extLst>
              </a:tr>
              <a:tr h="19659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5988796"/>
                  </a:ext>
                </a:extLst>
              </a:tr>
              <a:tr h="19659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7873162"/>
                  </a:ext>
                </a:extLst>
              </a:tr>
              <a:tr h="19659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9632543"/>
                  </a:ext>
                </a:extLst>
              </a:tr>
              <a:tr h="2123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2159964"/>
                  </a:ext>
                </a:extLst>
              </a:tr>
              <a:tr h="228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57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0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1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9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3506466"/>
                  </a:ext>
                </a:extLst>
              </a:tr>
              <a:tr h="363657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7410" marR="7410" marT="741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2584642"/>
                  </a:ext>
                </a:extLst>
              </a:tr>
            </a:tbl>
          </a:graphicData>
        </a:graphic>
      </p:graphicFrame>
      <p:sp>
        <p:nvSpPr>
          <p:cNvPr id="8" name="Zástupný symbol pro obsah 2"/>
          <p:cNvSpPr txBox="1">
            <a:spLocks/>
          </p:cNvSpPr>
          <p:nvPr/>
        </p:nvSpPr>
        <p:spPr bwMode="auto">
          <a:xfrm>
            <a:off x="1991544" y="144626"/>
            <a:ext cx="5760640" cy="827875"/>
          </a:xfrm>
          <a:prstGeom prst="rect">
            <a:avLst/>
          </a:prstGeom>
          <a:solidFill>
            <a:srgbClr val="F3FBA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600" b="1" i="0" u="none" strike="noStrike" kern="0" cap="none" spc="0" normalizeH="0" baseline="0" noProof="0" dirty="0" smtClean="0">
              <a:ln>
                <a:noFill/>
              </a:ln>
              <a:solidFill>
                <a:srgbClr val="333399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c. MUDr. Filip, Ph.D., prim. doc. MUDr. </a:t>
            </a:r>
            <a:r>
              <a:rPr kumimoji="0" lang="cs-CZ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brhelík</a:t>
            </a:r>
            <a:r>
              <a:rPr kumimoji="0" lang="cs-CZ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.D</a:t>
            </a:r>
            <a:r>
              <a:rPr kumimoji="0" lang="cs-CZ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99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ůžkové kapacity, predikce vytíženosti, personální stav, kapacita, vytíženost</a:t>
            </a:r>
          </a:p>
        </p:txBody>
      </p:sp>
    </p:spTree>
    <p:extLst>
      <p:ext uri="{BB962C8B-B14F-4D97-AF65-F5344CB8AC3E}">
        <p14:creationId xmlns:p14="http://schemas.microsoft.com/office/powerpoint/2010/main" val="2604840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graphicFrame>
        <p:nvGraphicFramePr>
          <p:cNvPr id="7" name="Zástupný symbol pro obsah 6"/>
          <p:cNvGraphicFramePr>
            <a:graphicFrameLocks noGrp="1"/>
          </p:cNvGraphicFramePr>
          <p:nvPr>
            <p:ph idx="1"/>
            <p:extLst/>
          </p:nvPr>
        </p:nvGraphicFramePr>
        <p:xfrm>
          <a:off x="332819" y="1014143"/>
          <a:ext cx="8888359" cy="254240"/>
        </p:xfrm>
        <a:graphic>
          <a:graphicData uri="http://schemas.openxmlformats.org/drawingml/2006/table">
            <a:tbl>
              <a:tblPr/>
              <a:tblGrid>
                <a:gridCol w="4173915">
                  <a:extLst>
                    <a:ext uri="{9D8B030D-6E8A-4147-A177-3AD203B41FA5}">
                      <a16:colId xmlns:a16="http://schemas.microsoft.com/office/drawing/2014/main" val="747149834"/>
                    </a:ext>
                  </a:extLst>
                </a:gridCol>
                <a:gridCol w="1240979">
                  <a:extLst>
                    <a:ext uri="{9D8B030D-6E8A-4147-A177-3AD203B41FA5}">
                      <a16:colId xmlns:a16="http://schemas.microsoft.com/office/drawing/2014/main" val="2366994226"/>
                    </a:ext>
                  </a:extLst>
                </a:gridCol>
                <a:gridCol w="1237782">
                  <a:extLst>
                    <a:ext uri="{9D8B030D-6E8A-4147-A177-3AD203B41FA5}">
                      <a16:colId xmlns:a16="http://schemas.microsoft.com/office/drawing/2014/main" val="963647003"/>
                    </a:ext>
                  </a:extLst>
                </a:gridCol>
                <a:gridCol w="1007497">
                  <a:extLst>
                    <a:ext uri="{9D8B030D-6E8A-4147-A177-3AD203B41FA5}">
                      <a16:colId xmlns:a16="http://schemas.microsoft.com/office/drawing/2014/main" val="2206882935"/>
                    </a:ext>
                  </a:extLst>
                </a:gridCol>
                <a:gridCol w="1228186">
                  <a:extLst>
                    <a:ext uri="{9D8B030D-6E8A-4147-A177-3AD203B41FA5}">
                      <a16:colId xmlns:a16="http://schemas.microsoft.com/office/drawing/2014/main" val="3417075034"/>
                    </a:ext>
                  </a:extLst>
                </a:gridCol>
              </a:tblGrid>
              <a:tr h="254240">
                <a:tc>
                  <a:txBody>
                    <a:bodyPr/>
                    <a:lstStyle/>
                    <a:p>
                      <a:pPr algn="r" fontAlgn="b"/>
                      <a:endParaRPr lang="pl-PL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74" marR="6874" marT="687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74" marR="6874" marT="687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74" marR="6874" marT="687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74" marR="6874" marT="687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74" marR="6874" marT="687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138154"/>
                  </a:ext>
                </a:extLst>
              </a:tr>
            </a:tbl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8933743" y="2593981"/>
            <a:ext cx="3186215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standard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ůžka C+ pacien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.4.2021 00:17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 125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6" name="Obrázek 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819" y="6082142"/>
            <a:ext cx="8434669" cy="258300"/>
          </a:xfrm>
          <a:prstGeom prst="rect">
            <a:avLst/>
          </a:prstGeom>
        </p:spPr>
      </p:pic>
      <p:sp>
        <p:nvSpPr>
          <p:cNvPr id="27" name="Obdélník 26"/>
          <p:cNvSpPr/>
          <p:nvPr/>
        </p:nvSpPr>
        <p:spPr>
          <a:xfrm>
            <a:off x="3113468" y="5685377"/>
            <a:ext cx="38605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Nemocnice s aktualizací starší 48 hod.: </a:t>
            </a:r>
            <a:r>
              <a:rPr kumimoji="0" lang="pl-PL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5x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/>
          </p:nvPr>
        </p:nvGraphicFramePr>
        <p:xfrm>
          <a:off x="158975" y="990794"/>
          <a:ext cx="8923477" cy="4840398"/>
        </p:xfrm>
        <a:graphic>
          <a:graphicData uri="http://schemas.openxmlformats.org/drawingml/2006/table">
            <a:tbl>
              <a:tblPr/>
              <a:tblGrid>
                <a:gridCol w="3338279">
                  <a:extLst>
                    <a:ext uri="{9D8B030D-6E8A-4147-A177-3AD203B41FA5}">
                      <a16:colId xmlns:a16="http://schemas.microsoft.com/office/drawing/2014/main" val="2158585815"/>
                    </a:ext>
                  </a:extLst>
                </a:gridCol>
                <a:gridCol w="1881485">
                  <a:extLst>
                    <a:ext uri="{9D8B030D-6E8A-4147-A177-3AD203B41FA5}">
                      <a16:colId xmlns:a16="http://schemas.microsoft.com/office/drawing/2014/main" val="4243186380"/>
                    </a:ext>
                  </a:extLst>
                </a:gridCol>
                <a:gridCol w="1866670">
                  <a:extLst>
                    <a:ext uri="{9D8B030D-6E8A-4147-A177-3AD203B41FA5}">
                      <a16:colId xmlns:a16="http://schemas.microsoft.com/office/drawing/2014/main" val="1183675605"/>
                    </a:ext>
                  </a:extLst>
                </a:gridCol>
                <a:gridCol w="1837043">
                  <a:extLst>
                    <a:ext uri="{9D8B030D-6E8A-4147-A177-3AD203B41FA5}">
                      <a16:colId xmlns:a16="http://schemas.microsoft.com/office/drawing/2014/main" val="69751293"/>
                    </a:ext>
                  </a:extLst>
                </a:gridCol>
              </a:tblGrid>
              <a:tr h="408357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20.4. 2021, 12:30 h</a:t>
                      </a:r>
                    </a:p>
                  </a:txBody>
                  <a:tcPr marL="7257" marR="7257" marT="7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6450638"/>
                  </a:ext>
                </a:extLst>
              </a:tr>
              <a:tr h="188534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7" marR="7257" marT="725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7" marR="7257" marT="725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7" marR="7257" marT="725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7" marR="7257" marT="725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2342965"/>
                  </a:ext>
                </a:extLst>
              </a:tr>
              <a:tr h="21904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421124"/>
                  </a:ext>
                </a:extLst>
              </a:tr>
              <a:tr h="63365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standardní s kyslíkem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5072998"/>
                  </a:ext>
                </a:extLst>
              </a:tr>
              <a:tr h="1955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3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432955"/>
                  </a:ext>
                </a:extLst>
              </a:tr>
              <a:tr h="1955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01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831959"/>
                  </a:ext>
                </a:extLst>
              </a:tr>
              <a:tr h="1955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3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5725655"/>
                  </a:ext>
                </a:extLst>
              </a:tr>
              <a:tr h="1955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2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2461097"/>
                  </a:ext>
                </a:extLst>
              </a:tr>
              <a:tr h="1955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32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0539745"/>
                  </a:ext>
                </a:extLst>
              </a:tr>
              <a:tr h="1955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7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9217841"/>
                  </a:ext>
                </a:extLst>
              </a:tr>
              <a:tr h="1955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83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8450406"/>
                  </a:ext>
                </a:extLst>
              </a:tr>
              <a:tr h="1955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77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8256409"/>
                  </a:ext>
                </a:extLst>
              </a:tr>
              <a:tr h="1955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80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6376334"/>
                  </a:ext>
                </a:extLst>
              </a:tr>
              <a:tr h="1955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5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7326928"/>
                  </a:ext>
                </a:extLst>
              </a:tr>
              <a:tr h="1955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9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076509"/>
                  </a:ext>
                </a:extLst>
              </a:tr>
              <a:tr h="1955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0522350"/>
                  </a:ext>
                </a:extLst>
              </a:tr>
              <a:tr h="1955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01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8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2357633"/>
                  </a:ext>
                </a:extLst>
              </a:tr>
              <a:tr h="2112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2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20396"/>
                  </a:ext>
                </a:extLst>
              </a:tr>
              <a:tr h="2268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673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28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88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9672546"/>
                  </a:ext>
                </a:extLst>
              </a:tr>
              <a:tr h="265979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7257" marR="7257" marT="725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93290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5210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51384" y="263471"/>
            <a:ext cx="11305256" cy="1427217"/>
          </a:xfrm>
          <a:solidFill>
            <a:schemeClr val="accent4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 algn="r"/>
            <a:r>
              <a:rPr lang="cs-CZ" sz="1800" b="1" dirty="0" smtClean="0"/>
              <a:t/>
            </a:r>
            <a:br>
              <a:rPr lang="cs-CZ" sz="1800" b="1" dirty="0" smtClean="0"/>
            </a:br>
            <a:r>
              <a:rPr lang="cs-CZ" sz="1800" b="1" dirty="0" smtClean="0"/>
              <a:t>Aktuální čísla:</a:t>
            </a:r>
            <a:r>
              <a:rPr lang="cs-CZ" sz="1800" b="1" dirty="0"/>
              <a:t/>
            </a:r>
            <a:br>
              <a:rPr lang="cs-CZ" sz="1800" b="1" dirty="0"/>
            </a:br>
            <a:r>
              <a:rPr lang="cs-CZ" sz="1800" dirty="0"/>
              <a:t>Zařízení – </a:t>
            </a:r>
            <a:r>
              <a:rPr lang="cs-CZ" sz="1800" b="1" dirty="0" smtClean="0">
                <a:solidFill>
                  <a:srgbClr val="FF0000"/>
                </a:solidFill>
              </a:rPr>
              <a:t>37</a:t>
            </a:r>
            <a:r>
              <a:rPr lang="cs-CZ" sz="1800" dirty="0"/>
              <a:t/>
            </a:r>
            <a:br>
              <a:rPr lang="cs-CZ" sz="1800" dirty="0"/>
            </a:br>
            <a:r>
              <a:rPr lang="cs-CZ" sz="1800" dirty="0"/>
              <a:t>Klienti – </a:t>
            </a:r>
            <a:r>
              <a:rPr lang="cs-CZ" sz="1800" b="1" dirty="0" smtClean="0">
                <a:solidFill>
                  <a:schemeClr val="accent1">
                    <a:lumMod val="75000"/>
                  </a:schemeClr>
                </a:solidFill>
              </a:rPr>
              <a:t>19</a:t>
            </a:r>
            <a:r>
              <a:rPr lang="cs-CZ" sz="1800" dirty="0"/>
              <a:t/>
            </a:r>
            <a:br>
              <a:rPr lang="cs-CZ" sz="1800" dirty="0"/>
            </a:br>
            <a:r>
              <a:rPr lang="cs-CZ" sz="1800" dirty="0"/>
              <a:t>Pracovníci – </a:t>
            </a:r>
            <a:r>
              <a:rPr lang="cs-CZ" sz="1800" b="1" dirty="0" smtClean="0">
                <a:solidFill>
                  <a:schemeClr val="accent6"/>
                </a:solidFill>
              </a:rPr>
              <a:t>32</a:t>
            </a:r>
            <a:r>
              <a:rPr lang="cs-CZ" sz="1800" dirty="0"/>
              <a:t/>
            </a:r>
            <a:br>
              <a:rPr lang="cs-CZ" sz="1800" dirty="0"/>
            </a:br>
            <a:r>
              <a:rPr lang="cs-CZ" sz="1800" dirty="0"/>
              <a:t>Úmrtí – 232</a:t>
            </a:r>
            <a:br>
              <a:rPr lang="cs-CZ" sz="1800" dirty="0"/>
            </a:br>
            <a:endParaRPr lang="cs-CZ" sz="1800" dirty="0"/>
          </a:p>
        </p:txBody>
      </p:sp>
      <p:graphicFrame>
        <p:nvGraphicFramePr>
          <p:cNvPr id="6" name="Zástupný symbol pro obsah 5"/>
          <p:cNvGraphicFramePr>
            <a:graphicFrameLocks noGrp="1"/>
          </p:cNvGraphicFramePr>
          <p:nvPr>
            <p:ph idx="1"/>
          </p:nvPr>
        </p:nvGraphicFramePr>
        <p:xfrm>
          <a:off x="551384" y="1772816"/>
          <a:ext cx="11305256" cy="47525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Obráze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392" y="440585"/>
            <a:ext cx="8784976" cy="536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66975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af 2">
            <a:extLst>
              <a:ext uri="{FF2B5EF4-FFF2-40B4-BE49-F238E27FC236}">
                <a16:creationId xmlns:a16="http://schemas.microsoft.com/office/drawing/2014/main" id="{35671FD1-2D37-4244-B31A-4CD7598F27CF}"/>
              </a:ext>
            </a:extLst>
          </p:cNvPr>
          <p:cNvGraphicFramePr/>
          <p:nvPr>
            <p:extLst/>
          </p:nvPr>
        </p:nvGraphicFramePr>
        <p:xfrm>
          <a:off x="839416" y="764704"/>
          <a:ext cx="10585176" cy="5461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9029178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439816" y="1704420"/>
            <a:ext cx="7632847" cy="1220524"/>
          </a:xfrm>
          <a:solidFill>
            <a:schemeClr val="accent1">
              <a:lumMod val="90000"/>
            </a:schemeClr>
          </a:solidFill>
        </p:spPr>
        <p:txBody>
          <a:bodyPr/>
          <a:lstStyle/>
          <a:p>
            <a:pPr algn="just"/>
            <a:r>
              <a:rPr lang="cs-CZ" dirty="0"/>
              <a:t>Tato dodávka antigenních </a:t>
            </a:r>
            <a:r>
              <a:rPr lang="cs-CZ" dirty="0" smtClean="0"/>
              <a:t>testů </a:t>
            </a:r>
            <a:r>
              <a:rPr lang="cs-CZ" b="1" dirty="0" smtClean="0">
                <a:solidFill>
                  <a:srgbClr val="FF0000"/>
                </a:solidFill>
              </a:rPr>
              <a:t>(SINGCLEAN) </a:t>
            </a:r>
            <a:r>
              <a:rPr lang="cs-CZ" dirty="0"/>
              <a:t>je určena pro subjekty, jejichž součástí </a:t>
            </a:r>
            <a:r>
              <a:rPr lang="cs-CZ" dirty="0" smtClean="0"/>
              <a:t>je :</a:t>
            </a:r>
          </a:p>
          <a:p>
            <a:pPr algn="just"/>
            <a:r>
              <a:rPr lang="cs-CZ" dirty="0" smtClean="0"/>
              <a:t>       Mateřská škola</a:t>
            </a:r>
            <a:r>
              <a:rPr lang="cs-CZ" dirty="0"/>
              <a:t>, základní škola, střední škola, konzervatoř, vyšší odborná škola, </a:t>
            </a:r>
            <a:r>
              <a:rPr lang="cs-CZ" dirty="0" smtClean="0"/>
              <a:t>středisko praktického vyučování</a:t>
            </a:r>
            <a:r>
              <a:rPr lang="cs-CZ" dirty="0"/>
              <a:t>, zařízení ústavní a ochranné výchovy, středisko výchovné péče, zařízení </a:t>
            </a:r>
            <a:r>
              <a:rPr lang="cs-CZ" dirty="0" smtClean="0"/>
              <a:t>školního stravování</a:t>
            </a:r>
            <a:r>
              <a:rPr lang="cs-CZ" dirty="0"/>
              <a:t>, školní družina, školní klub, domov mládeže a internát</a:t>
            </a:r>
            <a:r>
              <a:rPr lang="cs-CZ" dirty="0" smtClean="0"/>
              <a:t>.</a:t>
            </a:r>
          </a:p>
          <a:p>
            <a:pPr algn="just"/>
            <a:r>
              <a:rPr lang="cs-CZ" b="1" dirty="0" smtClean="0">
                <a:solidFill>
                  <a:srgbClr val="FF0000"/>
                </a:solidFill>
              </a:rPr>
              <a:t>Dodávka je na období: od 26. dubna do 7. května 2021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119337" y="1299647"/>
            <a:ext cx="11953326" cy="369332"/>
          </a:xfrm>
          <a:prstGeom prst="rect">
            <a:avLst/>
          </a:prstGeom>
          <a:solidFill>
            <a:srgbClr val="305983">
              <a:lumMod val="40000"/>
              <a:lumOff val="6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estování ve školách Zlínského kraje</a:t>
            </a:r>
          </a:p>
        </p:txBody>
      </p:sp>
      <p:sp>
        <p:nvSpPr>
          <p:cNvPr id="6" name="TextovéPole 5"/>
          <p:cNvSpPr txBox="1"/>
          <p:nvPr/>
        </p:nvSpPr>
        <p:spPr>
          <a:xfrm>
            <a:off x="4655840" y="620688"/>
            <a:ext cx="7416822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Školství Z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7" name="Objekt 6"/>
          <p:cNvGraphicFramePr>
            <a:graphicFrameLocks noChangeAspect="1"/>
          </p:cNvGraphicFramePr>
          <p:nvPr/>
        </p:nvGraphicFramePr>
        <p:xfrm>
          <a:off x="7944163" y="2985025"/>
          <a:ext cx="4128499" cy="3756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List" r:id="rId3" imgW="2943162" imgH="2962383" progId="Excel.Sheet.12">
                  <p:embed/>
                </p:oleObj>
              </mc:Choice>
              <mc:Fallback>
                <p:oleObj name="List" r:id="rId3" imgW="2943162" imgH="2962383" progId="Excel.Sheet.12">
                  <p:embed/>
                  <p:pic>
                    <p:nvPicPr>
                      <p:cNvPr id="7" name="Objekt 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4163" y="2985025"/>
                        <a:ext cx="4128499" cy="37563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Obrázek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1750473"/>
            <a:ext cx="4278859" cy="2686639"/>
          </a:xfrm>
          <a:prstGeom prst="rect">
            <a:avLst/>
          </a:prstGeom>
        </p:spPr>
      </p:pic>
      <p:sp>
        <p:nvSpPr>
          <p:cNvPr id="9" name="TextovéPole 8"/>
          <p:cNvSpPr txBox="1"/>
          <p:nvPr/>
        </p:nvSpPr>
        <p:spPr>
          <a:xfrm>
            <a:off x="119336" y="5013176"/>
            <a:ext cx="7488832" cy="369332"/>
          </a:xfrm>
          <a:prstGeom prst="rect">
            <a:avLst/>
          </a:prstGeom>
          <a:solidFill>
            <a:srgbClr val="F3FBA3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formace k dodávkám antigenních testů – </a:t>
            </a: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opis náměstkyně MŠM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104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4" cy="576000"/>
          </a:xfrm>
        </p:spPr>
        <p:txBody>
          <a:bodyPr/>
          <a:lstStyle/>
          <a:p>
            <a:r>
              <a:rPr lang="cs-CZ" dirty="0"/>
              <a:t>Stav očkování obyvatel Zlínského kraje k </a:t>
            </a:r>
            <a:r>
              <a:rPr lang="cs-CZ" dirty="0" smtClean="0"/>
              <a:t>16. </a:t>
            </a:r>
            <a:r>
              <a:rPr lang="cs-CZ" dirty="0"/>
              <a:t>4. 2021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DE00D4A-9EE4-40D7-8C0F-D8A48264354F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252" y="829599"/>
          <a:ext cx="11687318" cy="3517498"/>
        </p:xfrm>
        <a:graphic>
          <a:graphicData uri="http://schemas.openxmlformats.org/drawingml/2006/table">
            <a:tbl>
              <a:tblPr/>
              <a:tblGrid>
                <a:gridCol w="3316660">
                  <a:extLst>
                    <a:ext uri="{9D8B030D-6E8A-4147-A177-3AD203B41FA5}">
                      <a16:colId xmlns:a16="http://schemas.microsoft.com/office/drawing/2014/main" val="295241979"/>
                    </a:ext>
                  </a:extLst>
                </a:gridCol>
                <a:gridCol w="1350513">
                  <a:extLst>
                    <a:ext uri="{9D8B030D-6E8A-4147-A177-3AD203B41FA5}">
                      <a16:colId xmlns:a16="http://schemas.microsoft.com/office/drawing/2014/main" val="3199132826"/>
                    </a:ext>
                  </a:extLst>
                </a:gridCol>
                <a:gridCol w="1404029">
                  <a:extLst>
                    <a:ext uri="{9D8B030D-6E8A-4147-A177-3AD203B41FA5}">
                      <a16:colId xmlns:a16="http://schemas.microsoft.com/office/drawing/2014/main" val="1562492817"/>
                    </a:ext>
                  </a:extLst>
                </a:gridCol>
                <a:gridCol w="1404029">
                  <a:extLst>
                    <a:ext uri="{9D8B030D-6E8A-4147-A177-3AD203B41FA5}">
                      <a16:colId xmlns:a16="http://schemas.microsoft.com/office/drawing/2014/main" val="924048211"/>
                    </a:ext>
                  </a:extLst>
                </a:gridCol>
                <a:gridCol w="1404029">
                  <a:extLst>
                    <a:ext uri="{9D8B030D-6E8A-4147-A177-3AD203B41FA5}">
                      <a16:colId xmlns:a16="http://schemas.microsoft.com/office/drawing/2014/main" val="1299034595"/>
                    </a:ext>
                  </a:extLst>
                </a:gridCol>
                <a:gridCol w="1404029">
                  <a:extLst>
                    <a:ext uri="{9D8B030D-6E8A-4147-A177-3AD203B41FA5}">
                      <a16:colId xmlns:a16="http://schemas.microsoft.com/office/drawing/2014/main" val="3496218229"/>
                    </a:ext>
                  </a:extLst>
                </a:gridCol>
                <a:gridCol w="1404029">
                  <a:extLst>
                    <a:ext uri="{9D8B030D-6E8A-4147-A177-3AD203B41FA5}">
                      <a16:colId xmlns:a16="http://schemas.microsoft.com/office/drawing/2014/main" val="4070186342"/>
                    </a:ext>
                  </a:extLst>
                </a:gridCol>
              </a:tblGrid>
              <a:tr h="71524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ob</a:t>
                      </a:r>
                    </a:p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oby</a:t>
                      </a:r>
                    </a:p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 a více le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oby</a:t>
                      </a:r>
                    </a:p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–79 le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oby</a:t>
                      </a:r>
                    </a:p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–69 le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oby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–64 le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oby</a:t>
                      </a:r>
                    </a:p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 60 le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5163499"/>
                  </a:ext>
                </a:extLst>
              </a:tr>
              <a:tr h="44787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pulace k 1. 1. 2020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2 5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4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7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2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0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3 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6625941"/>
                  </a:ext>
                </a:extLst>
              </a:tr>
              <a:tr h="58859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 osob 1. </a:t>
                      </a:r>
                      <a:r>
                        <a:rPr lang="cs-CZ" sz="1600" b="0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45 567</a:t>
                      </a:r>
                      <a:b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7,8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8 342</a:t>
                      </a:r>
                      <a:br>
                        <a:rPr lang="cs-CZ" sz="1600" b="0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30,4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24 400</a:t>
                      </a:r>
                      <a:b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43,8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2 969</a:t>
                      </a:r>
                      <a:b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7,7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1 645</a:t>
                      </a:r>
                      <a:b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4,3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8 211</a:t>
                      </a:r>
                      <a:b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1,9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42437983"/>
                  </a:ext>
                </a:extLst>
              </a:tr>
              <a:tr h="58859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 osob 2. dávkou</a:t>
                      </a:r>
                      <a:endParaRPr lang="cs-CZ" sz="1600" b="0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30 727</a:t>
                      </a:r>
                      <a:br>
                        <a:rPr lang="cs-CZ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5,2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9 927</a:t>
                      </a:r>
                      <a:b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36,2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5 310</a:t>
                      </a:r>
                      <a:b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9,5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1 295</a:t>
                      </a:r>
                      <a:br>
                        <a:rPr lang="cs-CZ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3,3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2 254</a:t>
                      </a:r>
                      <a:b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5,9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11 941</a:t>
                      </a:r>
                      <a:b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2,8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85571290"/>
                  </a:ext>
                </a:extLst>
              </a:tr>
              <a:tr h="58859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 osob celkem</a:t>
                      </a:r>
                      <a:endParaRPr lang="cs-CZ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76 294</a:t>
                      </a:r>
                      <a:br>
                        <a:rPr lang="cs-CZ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13,1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18 269</a:t>
                      </a:r>
                      <a:b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66,6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29 710</a:t>
                      </a:r>
                      <a:b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53,3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4 264</a:t>
                      </a:r>
                      <a:br>
                        <a:rPr lang="cs-CZ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11,1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3 899</a:t>
                      </a:r>
                      <a:b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10,2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20 152</a:t>
                      </a:r>
                      <a:b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4,7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13717467"/>
                  </a:ext>
                </a:extLst>
              </a:tr>
              <a:tr h="58859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Účastníci očkování CELKEM 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 634</a:t>
                      </a:r>
                      <a:b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7,2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774</a:t>
                      </a:r>
                      <a:b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75,7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765</a:t>
                      </a:r>
                      <a:b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71,3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46</a:t>
                      </a:r>
                      <a:b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8,4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  <a:b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4,2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634</a:t>
                      </a:r>
                      <a:b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6,5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767979"/>
                  </a:ext>
                </a:extLst>
              </a:tr>
            </a:tbl>
          </a:graphicData>
        </a:graphic>
      </p:graphicFrame>
      <p:pic>
        <p:nvPicPr>
          <p:cNvPr id="7" name="Obráze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417" y="6074213"/>
            <a:ext cx="11323440" cy="209550"/>
          </a:xfrm>
          <a:prstGeom prst="rect">
            <a:avLst/>
          </a:prstGeom>
        </p:spPr>
      </p:pic>
      <p:pic>
        <p:nvPicPr>
          <p:cNvPr id="9" name="Obrázek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4417" y="5102663"/>
            <a:ext cx="11323440" cy="971550"/>
          </a:xfrm>
          <a:prstGeom prst="rect">
            <a:avLst/>
          </a:prstGeom>
        </p:spPr>
      </p:pic>
      <p:sp>
        <p:nvSpPr>
          <p:cNvPr id="10" name="TextovéPole 9"/>
          <p:cNvSpPr txBox="1"/>
          <p:nvPr/>
        </p:nvSpPr>
        <p:spPr>
          <a:xfrm>
            <a:off x="504417" y="4600694"/>
            <a:ext cx="6666807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očkování dle skupin k 20. 4. 2021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8813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EC0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Skupina 1"/>
          <p:cNvGrpSpPr/>
          <p:nvPr/>
        </p:nvGrpSpPr>
        <p:grpSpPr>
          <a:xfrm>
            <a:off x="123316" y="67376"/>
            <a:ext cx="11925701" cy="1256135"/>
            <a:chOff x="123316" y="67376"/>
            <a:chExt cx="11925701" cy="1256135"/>
          </a:xfrm>
        </p:grpSpPr>
        <p:sp>
          <p:nvSpPr>
            <p:cNvPr id="4" name="Zaoblený obdélník 3"/>
            <p:cNvSpPr/>
            <p:nvPr/>
          </p:nvSpPr>
          <p:spPr>
            <a:xfrm>
              <a:off x="123316" y="67376"/>
              <a:ext cx="11925701" cy="1212783"/>
            </a:xfrm>
            <a:prstGeom prst="roundRect">
              <a:avLst/>
            </a:prstGeom>
            <a:solidFill>
              <a:srgbClr val="00538E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Nadpis 1">
              <a:extLst>
                <a:ext uri="{FF2B5EF4-FFF2-40B4-BE49-F238E27FC236}">
                  <a16:creationId xmlns:a16="http://schemas.microsoft.com/office/drawing/2014/main" id="{50444CAE-0E11-4B1D-AD1D-5792ADA594DB}"/>
                </a:ext>
              </a:extLst>
            </p:cNvPr>
            <p:cNvSpPr txBox="1">
              <a:spLocks/>
            </p:cNvSpPr>
            <p:nvPr/>
          </p:nvSpPr>
          <p:spPr>
            <a:xfrm>
              <a:off x="1461636" y="495636"/>
              <a:ext cx="10039295" cy="827875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4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euton Normal" panose="02000506080000020004" pitchFamily="2" charset="0"/>
                  <a:ea typeface="+mj-ea"/>
                  <a:cs typeface="+mj-cs"/>
                </a:rPr>
                <a:t>Počty osob před závorou</a:t>
              </a:r>
              <a:endParaRPr kumimoji="0" lang="cs-CZ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uton Normal" panose="02000506080000020004" pitchFamily="2" charset="0"/>
                <a:ea typeface="+mj-ea"/>
                <a:cs typeface="+mj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uton Normal" panose="02000506080000020004" pitchFamily="2" charset="0"/>
                <a:ea typeface="+mj-ea"/>
                <a:cs typeface="+mj-cs"/>
              </a:endParaRPr>
            </a:p>
          </p:txBody>
        </p:sp>
        <p:pic>
          <p:nvPicPr>
            <p:cNvPr id="9" name="Obrázek 8">
              <a:extLst>
                <a:ext uri="{FF2B5EF4-FFF2-40B4-BE49-F238E27FC236}">
                  <a16:creationId xmlns:a16="http://schemas.microsoft.com/office/drawing/2014/main" id="{24572D85-A9D1-4A60-9210-67A538D236D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862" y="452284"/>
              <a:ext cx="1524204" cy="368332"/>
            </a:xfrm>
            <a:prstGeom prst="rect">
              <a:avLst/>
            </a:prstGeom>
          </p:spPr>
        </p:pic>
      </p:grpSp>
      <p:sp>
        <p:nvSpPr>
          <p:cNvPr id="10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 txBox="1">
            <a:spLocks/>
          </p:cNvSpPr>
          <p:nvPr/>
        </p:nvSpPr>
        <p:spPr>
          <a:xfrm>
            <a:off x="381740" y="2"/>
            <a:ext cx="6933460" cy="57600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6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381740" y="5762978"/>
            <a:ext cx="11553825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ud nenaočkovaní učitelé, kterým by v rámci urychlení očkování nevadila změna OČM mohou napsat na adresu koordinator@kr-zlinsky.cz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tabulce mohou být lidé kteří, prodělali COVID a čekají na ukončení 90 denní lhůty, rozmysleli si postoj k očkování, byli naočkovány na jinde (prodleva zápisu do ISIN).</a:t>
            </a: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9200" y="1390650"/>
            <a:ext cx="9753600" cy="4076700"/>
          </a:xfrm>
          <a:prstGeom prst="rect">
            <a:avLst/>
          </a:prstGeom>
        </p:spPr>
      </p:pic>
      <p:sp>
        <p:nvSpPr>
          <p:cNvPr id="11" name="TextovéPole 10"/>
          <p:cNvSpPr txBox="1"/>
          <p:nvPr/>
        </p:nvSpPr>
        <p:spPr>
          <a:xfrm>
            <a:off x="381740" y="6357864"/>
            <a:ext cx="11553825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>
            <a:defPPr>
              <a:defRPr lang="cs-CZ"/>
            </a:defPPr>
            <a:lvl1pPr>
              <a:defRPr sz="1200" b="1"/>
            </a:lvl1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ZD v rámci predikce, kdy se předpokládá 70% proočkování v rámci věkových skupin (realistická varianta) počítá naočkováním osob ve všech kategoriích 35+ do konce června, a to v případě, že bude očkováno 100tis osob denně. </a:t>
            </a:r>
          </a:p>
        </p:txBody>
      </p:sp>
    </p:spTree>
    <p:extLst>
      <p:ext uri="{BB962C8B-B14F-4D97-AF65-F5344CB8AC3E}">
        <p14:creationId xmlns:p14="http://schemas.microsoft.com/office/powerpoint/2010/main" val="2487407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EC0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Skupina 1"/>
          <p:cNvGrpSpPr/>
          <p:nvPr/>
        </p:nvGrpSpPr>
        <p:grpSpPr>
          <a:xfrm>
            <a:off x="123316" y="67376"/>
            <a:ext cx="11925701" cy="1256135"/>
            <a:chOff x="123316" y="67376"/>
            <a:chExt cx="11925701" cy="1256135"/>
          </a:xfrm>
        </p:grpSpPr>
        <p:sp>
          <p:nvSpPr>
            <p:cNvPr id="4" name="Zaoblený obdélník 3"/>
            <p:cNvSpPr/>
            <p:nvPr/>
          </p:nvSpPr>
          <p:spPr>
            <a:xfrm>
              <a:off x="123316" y="67376"/>
              <a:ext cx="11925701" cy="1212783"/>
            </a:xfrm>
            <a:prstGeom prst="roundRect">
              <a:avLst/>
            </a:prstGeom>
            <a:solidFill>
              <a:srgbClr val="00538E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Nadpis 1">
              <a:extLst>
                <a:ext uri="{FF2B5EF4-FFF2-40B4-BE49-F238E27FC236}">
                  <a16:creationId xmlns:a16="http://schemas.microsoft.com/office/drawing/2014/main" id="{50444CAE-0E11-4B1D-AD1D-5792ADA594DB}"/>
                </a:ext>
              </a:extLst>
            </p:cNvPr>
            <p:cNvSpPr txBox="1">
              <a:spLocks/>
            </p:cNvSpPr>
            <p:nvPr/>
          </p:nvSpPr>
          <p:spPr>
            <a:xfrm>
              <a:off x="1461636" y="495636"/>
              <a:ext cx="10039295" cy="827875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4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euton Normal" panose="02000506080000020004" pitchFamily="2" charset="0"/>
                  <a:ea typeface="+mj-ea"/>
                  <a:cs typeface="+mj-cs"/>
                </a:rPr>
                <a:t>Rozdělení </a:t>
              </a:r>
              <a:r>
                <a:rPr kumimoji="0" lang="cs-CZ" sz="4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euton Normal" panose="02000506080000020004" pitchFamily="2" charset="0"/>
                  <a:ea typeface="+mj-ea"/>
                  <a:cs typeface="+mj-cs"/>
                </a:rPr>
                <a:t>vakcín </a:t>
              </a:r>
              <a:r>
                <a:rPr kumimoji="0" lang="cs-CZ" sz="4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euton Normal" panose="02000506080000020004" pitchFamily="2" charset="0"/>
                  <a:ea typeface="+mj-ea"/>
                  <a:cs typeface="+mj-cs"/>
                </a:rPr>
                <a:t>pro OČM</a:t>
              </a:r>
              <a:endParaRPr kumimoji="0" lang="cs-CZ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uton Normal" panose="02000506080000020004" pitchFamily="2" charset="0"/>
                <a:ea typeface="+mj-ea"/>
                <a:cs typeface="+mj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uton Normal" panose="02000506080000020004" pitchFamily="2" charset="0"/>
                <a:ea typeface="+mj-ea"/>
                <a:cs typeface="+mj-cs"/>
              </a:endParaRPr>
            </a:p>
          </p:txBody>
        </p:sp>
        <p:pic>
          <p:nvPicPr>
            <p:cNvPr id="9" name="Obrázek 8">
              <a:extLst>
                <a:ext uri="{FF2B5EF4-FFF2-40B4-BE49-F238E27FC236}">
                  <a16:creationId xmlns:a16="http://schemas.microsoft.com/office/drawing/2014/main" id="{24572D85-A9D1-4A60-9210-67A538D236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862" y="452284"/>
              <a:ext cx="1524204" cy="368332"/>
            </a:xfrm>
            <a:prstGeom prst="rect">
              <a:avLst/>
            </a:prstGeom>
          </p:spPr>
        </p:pic>
      </p:grpSp>
      <p:sp>
        <p:nvSpPr>
          <p:cNvPr id="10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 txBox="1">
            <a:spLocks/>
          </p:cNvSpPr>
          <p:nvPr/>
        </p:nvSpPr>
        <p:spPr>
          <a:xfrm>
            <a:off x="381740" y="2"/>
            <a:ext cx="6933460" cy="57600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6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graphicFrame>
        <p:nvGraphicFramePr>
          <p:cNvPr id="13" name="Objekt 12"/>
          <p:cNvGraphicFramePr>
            <a:graphicFrameLocks noChangeAspect="1"/>
          </p:cNvGraphicFramePr>
          <p:nvPr>
            <p:extLst/>
          </p:nvPr>
        </p:nvGraphicFramePr>
        <p:xfrm>
          <a:off x="123316" y="1337671"/>
          <a:ext cx="8816689" cy="40666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List" r:id="rId4" imgW="12125256" imgH="5591124" progId="Excel.Sheet.12">
                  <p:embed/>
                </p:oleObj>
              </mc:Choice>
              <mc:Fallback>
                <p:oleObj name="List" r:id="rId4" imgW="12125256" imgH="5591124" progId="Excel.Sheet.12">
                  <p:embed/>
                  <p:pic>
                    <p:nvPicPr>
                      <p:cNvPr id="13" name="Objekt 12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16" y="1337671"/>
                        <a:ext cx="8816689" cy="40666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kt 4"/>
          <p:cNvGraphicFramePr>
            <a:graphicFrameLocks noChangeAspect="1"/>
          </p:cNvGraphicFramePr>
          <p:nvPr>
            <p:extLst/>
          </p:nvPr>
        </p:nvGraphicFramePr>
        <p:xfrm>
          <a:off x="123316" y="5512908"/>
          <a:ext cx="2308816" cy="12514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List" r:id="rId6" imgW="2267087" imgH="1228879" progId="Excel.Sheet.12">
                  <p:embed/>
                </p:oleObj>
              </mc:Choice>
              <mc:Fallback>
                <p:oleObj name="List" r:id="rId6" imgW="2267087" imgH="1228879" progId="Excel.Sheet.12">
                  <p:embed/>
                  <p:pic>
                    <p:nvPicPr>
                      <p:cNvPr id="5" name="Objekt 4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3316" y="5512908"/>
                        <a:ext cx="2308816" cy="12514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ovéPole 5"/>
          <p:cNvSpPr txBox="1"/>
          <p:nvPr/>
        </p:nvSpPr>
        <p:spPr>
          <a:xfrm>
            <a:off x="2972274" y="5512908"/>
            <a:ext cx="9076744" cy="1200329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e očkování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Očkování pouze prioritních skupin –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3. 4. 2021 od 00:00 spuštění skupiny 60+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Otevření závor pro všechny skupiny současně a seřazení všech zájemců podle věku.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!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ŘT MZ a KKOČ provádí kontroly, v případě porušování pravidel bude OČM vypnuto v CRS.  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14820" y="2434390"/>
            <a:ext cx="3101974" cy="1967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19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19336" y="1196752"/>
            <a:ext cx="11953328" cy="288032"/>
          </a:xfrm>
        </p:spPr>
        <p:txBody>
          <a:bodyPr/>
          <a:lstStyle/>
          <a:p>
            <a:r>
              <a:rPr lang="cs-CZ" dirty="0" smtClean="0"/>
              <a:t>Úvod: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7328" y="1700808"/>
            <a:ext cx="12097344" cy="4608512"/>
          </a:xfrm>
          <a:solidFill>
            <a:srgbClr val="F3FBA3"/>
          </a:solidFill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cs-CZ" sz="1800" b="1" dirty="0" smtClean="0"/>
              <a:t>Hejtman ZK </a:t>
            </a:r>
          </a:p>
          <a:p>
            <a:pPr marL="0" indent="0" algn="r"/>
            <a:r>
              <a:rPr lang="cs-CZ" sz="1200" dirty="0" smtClean="0"/>
              <a:t>Motto Zlínského kraje: </a:t>
            </a:r>
            <a:r>
              <a:rPr lang="cs-CZ" sz="1200" b="1" i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„</a:t>
            </a:r>
            <a:r>
              <a:rPr lang="cs-CZ" sz="1200" i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DOSTANEME OČKOVÁNÍ K </a:t>
            </a:r>
            <a:r>
              <a:rPr lang="cs-CZ" sz="1200" i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LIDEM“</a:t>
            </a:r>
            <a:endParaRPr lang="cs-CZ" sz="1200" b="1" i="1" dirty="0" smtClean="0">
              <a:solidFill>
                <a:schemeClr val="accent2">
                  <a:lumMod val="60000"/>
                  <a:lumOff val="40000"/>
                </a:schemeClr>
              </a:solidFill>
            </a:endParaRPr>
          </a:p>
          <a:p>
            <a:pPr marL="0" indent="0"/>
            <a:r>
              <a:rPr lang="cs-CZ" sz="1800" b="1" dirty="0" smtClean="0"/>
              <a:t>Z činnosti SPS KŠ ZK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FF0000"/>
                </a:solidFill>
              </a:rPr>
              <a:t>SPS </a:t>
            </a:r>
            <a:r>
              <a:rPr lang="cs-CZ" b="1" dirty="0" smtClean="0">
                <a:solidFill>
                  <a:srgbClr val="FF0000"/>
                </a:solidFill>
              </a:rPr>
              <a:t>KŠ pracuje v souladu s §8 Pandemického zákon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dirty="0" smtClean="0"/>
              <a:t>videokonferenční jednání hejtmanů s ministrem zdravotnictví k EPI situaci, k očkování a testování dětí a zaměstnanců ško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dirty="0" smtClean="0"/>
              <a:t>Příprava přemístění </a:t>
            </a:r>
            <a:r>
              <a:rPr lang="cs-CZ" b="1" dirty="0" smtClean="0"/>
              <a:t>OČM Zlín </a:t>
            </a:r>
            <a:r>
              <a:rPr lang="cs-CZ" dirty="0" smtClean="0"/>
              <a:t>do prostor </a:t>
            </a:r>
            <a:r>
              <a:rPr lang="cs-CZ" dirty="0" smtClean="0"/>
              <a:t>PS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dirty="0" smtClean="0"/>
              <a:t>Příjem a příprava na distribuci antigenních testů do ško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dirty="0" smtClean="0"/>
              <a:t>Validace seznamů superkritických pozic z území, zaslání do CRS (1627)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cs-CZ" b="1" dirty="0">
                <a:solidFill>
                  <a:srgbClr val="FF0000"/>
                </a:solidFill>
              </a:rPr>
              <a:t>Ve Zlínském kraji, pokud se jedná o chovy drůbeže, se v současné době nákaza vysoce patogenní </a:t>
            </a:r>
            <a:r>
              <a:rPr lang="cs-CZ" b="1" dirty="0" err="1">
                <a:solidFill>
                  <a:srgbClr val="FF0000"/>
                </a:solidFill>
              </a:rPr>
              <a:t>aviární</a:t>
            </a:r>
            <a:r>
              <a:rPr lang="cs-CZ" b="1" dirty="0">
                <a:solidFill>
                  <a:srgbClr val="FF0000"/>
                </a:solidFill>
              </a:rPr>
              <a:t> influenzou (HPAI) nevyskytuje</a:t>
            </a:r>
            <a:r>
              <a:rPr lang="cs-CZ" b="1" dirty="0"/>
              <a:t>. U jediného ohniska v chovu drůbeže v Osvětimanech bylo dne 14. 4. 2021 zrušeno jak </a:t>
            </a:r>
            <a:r>
              <a:rPr lang="cs-CZ" b="1" dirty="0">
                <a:solidFill>
                  <a:srgbClr val="FF0000"/>
                </a:solidFill>
              </a:rPr>
              <a:t>pásmo ochranné </a:t>
            </a:r>
            <a:r>
              <a:rPr lang="cs-CZ" b="1" dirty="0"/>
              <a:t>(3 km, uplynula lhůta 21 dní) tak </a:t>
            </a:r>
            <a:r>
              <a:rPr lang="cs-CZ" b="1" dirty="0">
                <a:solidFill>
                  <a:srgbClr val="FF0000"/>
                </a:solidFill>
              </a:rPr>
              <a:t>pásmo dozoru </a:t>
            </a:r>
            <a:r>
              <a:rPr lang="cs-CZ" b="1" dirty="0"/>
              <a:t>(10 km, uplynula lhůta 30 dní)  Opatření v ochranném </a:t>
            </a:r>
            <a:r>
              <a:rPr lang="cs-CZ" b="1" dirty="0" smtClean="0"/>
              <a:t>i v pásmu dozoru </a:t>
            </a:r>
            <a:r>
              <a:rPr lang="cs-CZ" b="1" dirty="0"/>
              <a:t>nařízená obcím a chovatelům byla splněna. </a:t>
            </a:r>
            <a:endParaRPr lang="cs-CZ" dirty="0" smtClean="0"/>
          </a:p>
          <a:p>
            <a:pPr>
              <a:buFont typeface="Arial" panose="020B0604020202020204" pitchFamily="34" charset="0"/>
              <a:buChar char="•"/>
            </a:pPr>
            <a:endParaRPr lang="cs-CZ" dirty="0" smtClean="0"/>
          </a:p>
        </p:txBody>
      </p:sp>
    </p:spTree>
    <p:extLst>
      <p:ext uri="{BB962C8B-B14F-4D97-AF65-F5344CB8AC3E}">
        <p14:creationId xmlns:p14="http://schemas.microsoft.com/office/powerpoint/2010/main" val="1562307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EC0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Skupina 1"/>
          <p:cNvGrpSpPr/>
          <p:nvPr/>
        </p:nvGrpSpPr>
        <p:grpSpPr>
          <a:xfrm>
            <a:off x="123316" y="67376"/>
            <a:ext cx="11925701" cy="1256135"/>
            <a:chOff x="123316" y="67376"/>
            <a:chExt cx="11925701" cy="1256135"/>
          </a:xfrm>
        </p:grpSpPr>
        <p:sp>
          <p:nvSpPr>
            <p:cNvPr id="4" name="Zaoblený obdélník 3"/>
            <p:cNvSpPr/>
            <p:nvPr/>
          </p:nvSpPr>
          <p:spPr>
            <a:xfrm>
              <a:off x="123316" y="67376"/>
              <a:ext cx="11925701" cy="1212783"/>
            </a:xfrm>
            <a:prstGeom prst="roundRect">
              <a:avLst/>
            </a:prstGeom>
            <a:solidFill>
              <a:srgbClr val="00538E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Nadpis 1">
              <a:extLst>
                <a:ext uri="{FF2B5EF4-FFF2-40B4-BE49-F238E27FC236}">
                  <a16:creationId xmlns:a16="http://schemas.microsoft.com/office/drawing/2014/main" id="{50444CAE-0E11-4B1D-AD1D-5792ADA594DB}"/>
                </a:ext>
              </a:extLst>
            </p:cNvPr>
            <p:cNvSpPr txBox="1">
              <a:spLocks/>
            </p:cNvSpPr>
            <p:nvPr/>
          </p:nvSpPr>
          <p:spPr>
            <a:xfrm>
              <a:off x="1461636" y="495636"/>
              <a:ext cx="10039295" cy="827875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4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euton Normal" panose="02000506080000020004" pitchFamily="2" charset="0"/>
                  <a:ea typeface="+mj-ea"/>
                  <a:cs typeface="+mj-cs"/>
                </a:rPr>
                <a:t>Rozdělení </a:t>
              </a:r>
              <a:r>
                <a:rPr kumimoji="0" lang="cs-CZ" sz="4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euton Normal" panose="02000506080000020004" pitchFamily="2" charset="0"/>
                  <a:ea typeface="+mj-ea"/>
                  <a:cs typeface="+mj-cs"/>
                </a:rPr>
                <a:t>vakcín pro </a:t>
              </a:r>
              <a:r>
                <a:rPr kumimoji="0" lang="cs-CZ" sz="4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euton Normal" panose="02000506080000020004" pitchFamily="2" charset="0"/>
                  <a:ea typeface="+mj-ea"/>
                  <a:cs typeface="+mj-cs"/>
                </a:rPr>
                <a:t>PL</a:t>
              </a:r>
              <a:endParaRPr kumimoji="0" lang="cs-CZ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uton Normal" panose="02000506080000020004" pitchFamily="2" charset="0"/>
                <a:ea typeface="+mj-ea"/>
                <a:cs typeface="+mj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uton Normal" panose="02000506080000020004" pitchFamily="2" charset="0"/>
                <a:ea typeface="+mj-ea"/>
                <a:cs typeface="+mj-cs"/>
              </a:endParaRPr>
            </a:p>
          </p:txBody>
        </p:sp>
        <p:pic>
          <p:nvPicPr>
            <p:cNvPr id="9" name="Obrázek 8">
              <a:extLst>
                <a:ext uri="{FF2B5EF4-FFF2-40B4-BE49-F238E27FC236}">
                  <a16:creationId xmlns:a16="http://schemas.microsoft.com/office/drawing/2014/main" id="{24572D85-A9D1-4A60-9210-67A538D236D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862" y="452284"/>
              <a:ext cx="1524204" cy="368332"/>
            </a:xfrm>
            <a:prstGeom prst="rect">
              <a:avLst/>
            </a:prstGeom>
          </p:spPr>
        </p:pic>
      </p:grpSp>
      <p:sp>
        <p:nvSpPr>
          <p:cNvPr id="10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 txBox="1">
            <a:spLocks/>
          </p:cNvSpPr>
          <p:nvPr/>
        </p:nvSpPr>
        <p:spPr>
          <a:xfrm>
            <a:off x="381740" y="2"/>
            <a:ext cx="6933460" cy="57600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6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11" name="TextovéPole 10"/>
          <p:cNvSpPr txBox="1"/>
          <p:nvPr/>
        </p:nvSpPr>
        <p:spPr>
          <a:xfrm>
            <a:off x="123316" y="1695453"/>
            <a:ext cx="11614575" cy="1754326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o PL jsou rozděleny všechny dodávky vakcíny MODERNA a VAXZEVRIA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lán dodávek v 16. týdnu do ZL s následným rozvozem pro PL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VAXZEVRIA (ASTRAZENECA): 2 200 dávek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MODERNA: 2 400 dávek -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é doručení aktualizováno na Po - Út v 17. týdnu.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740" y="4742482"/>
            <a:ext cx="10567297" cy="269699"/>
          </a:xfrm>
          <a:prstGeom prst="rect">
            <a:avLst/>
          </a:prstGeom>
        </p:spPr>
      </p:pic>
      <p:sp>
        <p:nvSpPr>
          <p:cNvPr id="14" name="TextovéPole 13"/>
          <p:cNvSpPr txBox="1"/>
          <p:nvPr/>
        </p:nvSpPr>
        <p:spPr>
          <a:xfrm>
            <a:off x="123316" y="4185425"/>
            <a:ext cx="5694554" cy="369332"/>
          </a:xfrm>
          <a:prstGeom prst="rect">
            <a:avLst/>
          </a:prstGeom>
          <a:solidFill>
            <a:srgbClr val="00538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cs-CZ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vakcín podaných PL od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 3. 2021 (registrační systém)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/>
          <p:cNvSpPr txBox="1"/>
          <p:nvPr/>
        </p:nvSpPr>
        <p:spPr>
          <a:xfrm>
            <a:off x="123316" y="5739304"/>
            <a:ext cx="4642994" cy="369332"/>
          </a:xfrm>
          <a:prstGeom prst="rect">
            <a:avLst/>
          </a:prstGeom>
          <a:solidFill>
            <a:srgbClr val="00538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cs-CZ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vakcín podaných PL od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. 1. 2021: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3 386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1739" y="5012181"/>
            <a:ext cx="10567297" cy="209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454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solidFill>
                  <a:schemeClr val="tx1"/>
                </a:solidFill>
              </a:rPr>
              <a:t>6. Různé</a:t>
            </a:r>
            <a:endParaRPr lang="cs-CZ" dirty="0">
              <a:solidFill>
                <a:schemeClr val="tx1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912285" y="2060574"/>
            <a:ext cx="10512307" cy="4680793"/>
          </a:xfrm>
          <a:solidFill>
            <a:srgbClr val="F3FBA3"/>
          </a:solidFill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cs-CZ" sz="1800" dirty="0" smtClean="0"/>
          </a:p>
          <a:p>
            <a:pPr marL="0" indent="0"/>
            <a:r>
              <a:rPr lang="cs-CZ" sz="1800" b="1" dirty="0" smtClean="0"/>
              <a:t>Dotazy</a:t>
            </a:r>
            <a:endParaRPr lang="cs-CZ" sz="1800" b="1" dirty="0"/>
          </a:p>
          <a:p>
            <a:pPr marL="0" indent="0"/>
            <a:endParaRPr lang="cs-CZ" sz="1800" dirty="0" smtClean="0"/>
          </a:p>
          <a:p>
            <a:pPr marL="0" indent="0"/>
            <a:endParaRPr lang="cs-CZ" sz="1800" dirty="0"/>
          </a:p>
          <a:p>
            <a:pPr marL="0" indent="0"/>
            <a:r>
              <a:rPr lang="cs-CZ" sz="1800" dirty="0" smtClean="0"/>
              <a:t>Příští zasedání:  </a:t>
            </a:r>
            <a:r>
              <a:rPr lang="cs-CZ" sz="1800" b="1" dirty="0" smtClean="0"/>
              <a:t>28. </a:t>
            </a:r>
            <a:r>
              <a:rPr lang="cs-CZ" sz="1800" b="1" dirty="0" smtClean="0"/>
              <a:t>dubna 2021 </a:t>
            </a:r>
          </a:p>
          <a:p>
            <a:pPr marL="0" indent="0"/>
            <a:r>
              <a:rPr lang="cs-CZ" sz="1800" b="1" dirty="0" smtClean="0">
                <a:solidFill>
                  <a:srgbClr val="FF0000"/>
                </a:solidFill>
              </a:rPr>
              <a:t>Zahájení:  </a:t>
            </a:r>
            <a:r>
              <a:rPr lang="cs-CZ" sz="1800" dirty="0" smtClean="0"/>
              <a:t>v 11 hod.</a:t>
            </a:r>
          </a:p>
        </p:txBody>
      </p:sp>
    </p:spTree>
    <p:extLst>
      <p:ext uri="{BB962C8B-B14F-4D97-AF65-F5344CB8AC3E}">
        <p14:creationId xmlns:p14="http://schemas.microsoft.com/office/powerpoint/2010/main" val="2954093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/>
          <p:cNvSpPr/>
          <p:nvPr/>
        </p:nvSpPr>
        <p:spPr>
          <a:xfrm>
            <a:off x="5526043" y="1268760"/>
            <a:ext cx="5276194" cy="2160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last školství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344" y="1268760"/>
            <a:ext cx="4926038" cy="5524912"/>
          </a:xfrm>
          <a:prstGeom prst="rect">
            <a:avLst/>
          </a:prstGeom>
        </p:spPr>
      </p:pic>
      <p:pic>
        <p:nvPicPr>
          <p:cNvPr id="7" name="Obráze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9937" y="1602831"/>
            <a:ext cx="5276195" cy="5184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522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151784" y="249026"/>
            <a:ext cx="7920880" cy="792088"/>
          </a:xfrm>
          <a:solidFill>
            <a:srgbClr val="F3FBA3"/>
          </a:solidFill>
        </p:spPr>
        <p:txBody>
          <a:bodyPr/>
          <a:lstStyle/>
          <a:p>
            <a:r>
              <a:rPr lang="cs-CZ" dirty="0" smtClean="0">
                <a:solidFill>
                  <a:schemeClr val="accent2"/>
                </a:solidFill>
              </a:rPr>
              <a:t>Informace o nasazení AČR na území </a:t>
            </a:r>
            <a:r>
              <a:rPr lang="cs-CZ" dirty="0" smtClean="0">
                <a:solidFill>
                  <a:schemeClr val="accent2"/>
                </a:solidFill>
              </a:rPr>
              <a:t>ZK k </a:t>
            </a:r>
            <a:r>
              <a:rPr lang="cs-CZ" dirty="0" smtClean="0">
                <a:solidFill>
                  <a:schemeClr val="accent2"/>
                </a:solidFill>
              </a:rPr>
              <a:t>21. 4. 2021.</a:t>
            </a:r>
            <a:endParaRPr lang="cs-CZ" dirty="0">
              <a:solidFill>
                <a:schemeClr val="accent2"/>
              </a:solidFill>
            </a:endParaRPr>
          </a:p>
        </p:txBody>
      </p:sp>
      <p:sp>
        <p:nvSpPr>
          <p:cNvPr id="6" name="Nadpis 1"/>
          <p:cNvSpPr txBox="1">
            <a:spLocks/>
          </p:cNvSpPr>
          <p:nvPr/>
        </p:nvSpPr>
        <p:spPr bwMode="auto">
          <a:xfrm>
            <a:off x="1415480" y="1303012"/>
            <a:ext cx="8964996" cy="576262"/>
          </a:xfrm>
          <a:prstGeom prst="rect">
            <a:avLst/>
          </a:prstGeom>
          <a:solidFill>
            <a:srgbClr val="F3FBA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OSÍLENÍ ZDRAVOTNICKÝCH ZAŘÍZENÍ A NEMOCNIC - "OPERACE ASISTENCE"</a:t>
            </a:r>
          </a:p>
        </p:txBody>
      </p:sp>
      <p:sp>
        <p:nvSpPr>
          <p:cNvPr id="7" name="Nadpis 1"/>
          <p:cNvSpPr txBox="1">
            <a:spLocks/>
          </p:cNvSpPr>
          <p:nvPr/>
        </p:nvSpPr>
        <p:spPr bwMode="auto">
          <a:xfrm>
            <a:off x="1415479" y="3529538"/>
            <a:ext cx="8964996" cy="576262"/>
          </a:xfrm>
          <a:prstGeom prst="rect">
            <a:avLst/>
          </a:prstGeom>
          <a:solidFill>
            <a:srgbClr val="F3FBA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ODPORA ANTIGENNÍCH ODBĚROVÝCH CENTER "OPERACE - TESTOVÁNÍ"</a:t>
            </a:r>
          </a:p>
        </p:txBody>
      </p:sp>
      <p:graphicFrame>
        <p:nvGraphicFramePr>
          <p:cNvPr id="10" name="Tabulka 9"/>
          <p:cNvGraphicFramePr>
            <a:graphicFrameLocks noGrp="1"/>
          </p:cNvGraphicFramePr>
          <p:nvPr>
            <p:extLst/>
          </p:nvPr>
        </p:nvGraphicFramePr>
        <p:xfrm>
          <a:off x="1415479" y="1903244"/>
          <a:ext cx="8964997" cy="14833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071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2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642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687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u="none" strike="noStrike" dirty="0"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u="none" strike="noStrike" kern="1200" dirty="0" smtClean="0">
                          <a:effectLst/>
                          <a:latin typeface="Calibri" panose="020F0502020204030204" pitchFamily="34" charset="0"/>
                        </a:rPr>
                        <a:t>Počet vojáků</a:t>
                      </a:r>
                      <a:endParaRPr lang="cs-CZ" sz="180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u="none" strike="noStrike" kern="1200" dirty="0">
                          <a:effectLst/>
                          <a:latin typeface="Calibri" panose="020F0502020204030204" pitchFamily="34" charset="0"/>
                        </a:rPr>
                        <a:t>Termín</a:t>
                      </a:r>
                      <a:endParaRPr lang="cs-CZ" sz="180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u="none" strike="noStrike" dirty="0" smtClean="0">
                          <a:effectLst/>
                          <a:latin typeface="Calibri" panose="020F0502020204030204" pitchFamily="34" charset="0"/>
                        </a:rPr>
                        <a:t>KNTB Zlín</a:t>
                      </a:r>
                      <a:endParaRPr lang="cs-CZ" sz="18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 smtClean="0">
                          <a:latin typeface="Calibri" panose="020F0502020204030204" pitchFamily="34" charset="0"/>
                        </a:rPr>
                        <a:t>6</a:t>
                      </a:r>
                      <a:endParaRPr lang="cs-CZ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u="none" strike="noStrike" dirty="0" smtClean="0">
                          <a:effectLst/>
                          <a:latin typeface="Calibri" panose="020F0502020204030204" pitchFamily="34" charset="0"/>
                        </a:rPr>
                        <a:t>18. 3. 2021</a:t>
                      </a:r>
                      <a:endParaRPr lang="cs-CZ" sz="18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u="none" strike="noStrike" dirty="0" smtClean="0">
                          <a:effectLst/>
                          <a:latin typeface="Calibri" panose="020F0502020204030204" pitchFamily="34" charset="0"/>
                        </a:rPr>
                        <a:t>30. 4. 2021</a:t>
                      </a:r>
                      <a:endParaRPr lang="cs-CZ" sz="18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u="none" strike="noStrike" dirty="0" smtClean="0">
                          <a:effectLst/>
                          <a:latin typeface="Calibri" panose="020F0502020204030204" pitchFamily="34" charset="0"/>
                        </a:rPr>
                        <a:t>Nemocnice Vsetín</a:t>
                      </a:r>
                      <a:endParaRPr lang="cs-CZ" sz="18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 smtClean="0">
                          <a:latin typeface="Calibri" panose="020F0502020204030204" pitchFamily="34" charset="0"/>
                        </a:rPr>
                        <a:t>3</a:t>
                      </a:r>
                      <a:endParaRPr lang="cs-CZ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 smtClean="0">
                          <a:latin typeface="Calibri" panose="020F0502020204030204" pitchFamily="34" charset="0"/>
                        </a:rPr>
                        <a:t>16. 4. 2021</a:t>
                      </a:r>
                      <a:endParaRPr lang="cs-CZ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 smtClean="0">
                          <a:latin typeface="Calibri" panose="020F0502020204030204" pitchFamily="34" charset="0"/>
                        </a:rPr>
                        <a:t>30. 4. 2021</a:t>
                      </a:r>
                      <a:endParaRPr lang="cs-CZ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u="none" strike="noStrike" dirty="0" smtClean="0">
                          <a:effectLst/>
                          <a:latin typeface="Calibri" panose="020F0502020204030204" pitchFamily="34" charset="0"/>
                        </a:rPr>
                        <a:t>Nemocnice Val. Meziříčí</a:t>
                      </a:r>
                      <a:endParaRPr lang="cs-CZ" sz="18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 smtClean="0">
                          <a:latin typeface="Calibri" panose="020F0502020204030204" pitchFamily="34" charset="0"/>
                        </a:rPr>
                        <a:t>5</a:t>
                      </a:r>
                      <a:endParaRPr lang="cs-CZ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 smtClean="0">
                          <a:latin typeface="Calibri" panose="020F0502020204030204" pitchFamily="34" charset="0"/>
                        </a:rPr>
                        <a:t>19. 4. 2021</a:t>
                      </a:r>
                      <a:endParaRPr lang="cs-CZ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 smtClean="0">
                          <a:latin typeface="Calibri" panose="020F0502020204030204" pitchFamily="34" charset="0"/>
                        </a:rPr>
                        <a:t>30. 4. 2021</a:t>
                      </a:r>
                      <a:endParaRPr lang="cs-CZ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1" name="Tabulka 10"/>
          <p:cNvGraphicFramePr>
            <a:graphicFrameLocks noGrp="1"/>
          </p:cNvGraphicFramePr>
          <p:nvPr>
            <p:extLst/>
          </p:nvPr>
        </p:nvGraphicFramePr>
        <p:xfrm>
          <a:off x="1415479" y="4248734"/>
          <a:ext cx="8964996" cy="1854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609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298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742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latin typeface="Calibri" panose="020F0502020204030204" pitchFamily="34" charset="0"/>
                        </a:rPr>
                        <a:t>Zdravotnické zařízení</a:t>
                      </a:r>
                      <a:endParaRPr lang="cs-CZ" sz="18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 smtClean="0">
                          <a:latin typeface="Calibri" panose="020F0502020204030204" pitchFamily="34" charset="0"/>
                        </a:rPr>
                        <a:t>Počet vojáků</a:t>
                      </a:r>
                      <a:endParaRPr lang="cs-CZ" sz="18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latin typeface="Calibri" panose="020F0502020204030204" pitchFamily="34" charset="0"/>
                        </a:rPr>
                        <a:t>Termín</a:t>
                      </a:r>
                      <a:endParaRPr lang="cs-CZ" sz="18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kern="1200" dirty="0" smtClean="0">
                          <a:latin typeface="Calibri" panose="020F0502020204030204" pitchFamily="34" charset="0"/>
                        </a:rPr>
                        <a:t>KNTB Zlín</a:t>
                      </a:r>
                      <a:endParaRPr lang="cs-CZ" sz="1800" kern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kern="1200" dirty="0" smtClean="0">
                          <a:latin typeface="Calibri" panose="020F0502020204030204" pitchFamily="34" charset="0"/>
                        </a:rPr>
                        <a:t>2 THP k podpoře antigen. testování</a:t>
                      </a:r>
                      <a:endParaRPr lang="cs-CZ" sz="18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kern="1200" dirty="0" smtClean="0">
                          <a:latin typeface="Calibri" panose="020F0502020204030204" pitchFamily="34" charset="0"/>
                        </a:rPr>
                        <a:t> do 30. 4. 2021</a:t>
                      </a:r>
                      <a:endParaRPr lang="cs-CZ" sz="1800" kern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kern="1200" dirty="0" smtClean="0">
                          <a:latin typeface="Calibri" panose="020F0502020204030204" pitchFamily="34" charset="0"/>
                        </a:rPr>
                        <a:t>Nemocnice Uh. Hradiště</a:t>
                      </a:r>
                      <a:endParaRPr lang="cs-CZ" sz="1800" kern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kern="1200" dirty="0" smtClean="0">
                          <a:latin typeface="Calibri" panose="020F0502020204030204" pitchFamily="34" charset="0"/>
                        </a:rPr>
                        <a:t>1 </a:t>
                      </a:r>
                      <a:r>
                        <a:rPr lang="cs-CZ" sz="1800" kern="1200" dirty="0" err="1" smtClean="0">
                          <a:latin typeface="Calibri" panose="020F0502020204030204" pitchFamily="34" charset="0"/>
                        </a:rPr>
                        <a:t>OdT</a:t>
                      </a:r>
                      <a:r>
                        <a:rPr lang="cs-CZ" sz="1800" kern="1200" dirty="0" smtClean="0">
                          <a:latin typeface="Calibri" panose="020F0502020204030204" pitchFamily="34" charset="0"/>
                        </a:rPr>
                        <a:t> (2 vojáci) + 1 THP k antigen. test. </a:t>
                      </a:r>
                      <a:endParaRPr lang="cs-CZ" sz="18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kern="1200" dirty="0" smtClean="0">
                          <a:latin typeface="Calibri" panose="020F0502020204030204" pitchFamily="34" charset="0"/>
                        </a:rPr>
                        <a:t> do 30. 4. 2021</a:t>
                      </a:r>
                      <a:endParaRPr lang="cs-CZ" sz="1800" kern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kern="1200" dirty="0" smtClean="0">
                          <a:latin typeface="Calibri" panose="020F0502020204030204" pitchFamily="34" charset="0"/>
                        </a:rPr>
                        <a:t>Nemocnice Kroměříž</a:t>
                      </a:r>
                      <a:endParaRPr lang="cs-CZ" sz="1800" kern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kern="1200" dirty="0" smtClean="0">
                          <a:latin typeface="Calibri" panose="020F0502020204030204" pitchFamily="34" charset="0"/>
                        </a:rPr>
                        <a:t>1 </a:t>
                      </a:r>
                      <a:r>
                        <a:rPr lang="cs-CZ" sz="1800" kern="1200" dirty="0" err="1" smtClean="0">
                          <a:latin typeface="Calibri" panose="020F0502020204030204" pitchFamily="34" charset="0"/>
                        </a:rPr>
                        <a:t>OdT</a:t>
                      </a:r>
                      <a:r>
                        <a:rPr lang="cs-CZ" sz="1800" kern="1200" dirty="0" smtClean="0">
                          <a:latin typeface="Calibri" panose="020F0502020204030204" pitchFamily="34" charset="0"/>
                        </a:rPr>
                        <a:t> (2 vojáci) + 1 THP k antigen. test. </a:t>
                      </a:r>
                      <a:endParaRPr lang="cs-CZ" sz="18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kern="1200" dirty="0" smtClean="0">
                          <a:latin typeface="Calibri" panose="020F0502020204030204" pitchFamily="34" charset="0"/>
                        </a:rPr>
                        <a:t> do 30. 4. 2021</a:t>
                      </a:r>
                      <a:endParaRPr lang="cs-CZ" sz="1800" kern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kern="1200" dirty="0" smtClean="0">
                          <a:latin typeface="Calibri" panose="020F0502020204030204" pitchFamily="34" charset="0"/>
                        </a:rPr>
                        <a:t>Nemocnice Vsetín</a:t>
                      </a:r>
                      <a:endParaRPr lang="cs-CZ" sz="1800" kern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kern="1200" dirty="0" smtClean="0">
                          <a:latin typeface="Calibri" panose="020F0502020204030204" pitchFamily="34" charset="0"/>
                        </a:rPr>
                        <a:t>1 </a:t>
                      </a:r>
                      <a:r>
                        <a:rPr lang="cs-CZ" sz="1800" kern="1200" dirty="0" err="1" smtClean="0">
                          <a:latin typeface="Calibri" panose="020F0502020204030204" pitchFamily="34" charset="0"/>
                        </a:rPr>
                        <a:t>OdT</a:t>
                      </a:r>
                      <a:r>
                        <a:rPr lang="cs-CZ" sz="1800" kern="1200" dirty="0" smtClean="0">
                          <a:latin typeface="Calibri" panose="020F0502020204030204" pitchFamily="34" charset="0"/>
                        </a:rPr>
                        <a:t> (2 vojáci) + 1 THP k antigen. test. </a:t>
                      </a:r>
                      <a:endParaRPr lang="cs-CZ" sz="18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kern="1200" dirty="0" smtClean="0">
                          <a:latin typeface="Calibri" panose="020F0502020204030204" pitchFamily="34" charset="0"/>
                        </a:rPr>
                        <a:t> do 30. 4. 2021</a:t>
                      </a:r>
                      <a:endParaRPr lang="cs-CZ" sz="1800" kern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0970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5360" y="1412776"/>
            <a:ext cx="10655300" cy="576262"/>
          </a:xfrm>
          <a:solidFill>
            <a:srgbClr val="F3FBA3"/>
          </a:solidFill>
        </p:spPr>
        <p:txBody>
          <a:bodyPr/>
          <a:lstStyle/>
          <a:p>
            <a:r>
              <a:rPr lang="cs-CZ" dirty="0">
                <a:solidFill>
                  <a:schemeClr val="accent2"/>
                </a:solidFill>
              </a:rPr>
              <a:t>Informace ředitele KŘ policie </a:t>
            </a:r>
            <a:r>
              <a:rPr lang="cs-CZ" dirty="0" smtClean="0">
                <a:solidFill>
                  <a:schemeClr val="accent2"/>
                </a:solidFill>
              </a:rPr>
              <a:t>ZK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35360" y="2060575"/>
            <a:ext cx="10655300" cy="3816350"/>
          </a:xfrm>
          <a:solidFill>
            <a:schemeClr val="accent1"/>
          </a:solidFill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cs-CZ" sz="2400" dirty="0" smtClean="0"/>
              <a:t>Informace z výsledků kontrol dodržování opatření MZ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2400" dirty="0" smtClean="0"/>
              <a:t>Dotazy starostů</a:t>
            </a:r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1804588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223792" y="123394"/>
            <a:ext cx="11881320" cy="1728192"/>
          </a:xfrm>
        </p:spPr>
        <p:txBody>
          <a:bodyPr/>
          <a:lstStyle/>
          <a:p>
            <a:r>
              <a:rPr lang="cs-CZ" sz="1600" dirty="0">
                <a:solidFill>
                  <a:schemeClr val="tx1"/>
                </a:solidFill>
              </a:rPr>
              <a:t>Informace o aktuální EPI situaci </a:t>
            </a:r>
            <a:r>
              <a:rPr lang="cs-CZ" sz="1600" dirty="0" smtClean="0">
                <a:solidFill>
                  <a:schemeClr val="tx1"/>
                </a:solidFill>
              </a:rPr>
              <a:t/>
            </a:r>
            <a:br>
              <a:rPr lang="cs-CZ" sz="1600" dirty="0" smtClean="0">
                <a:solidFill>
                  <a:schemeClr val="tx1"/>
                </a:solidFill>
              </a:rPr>
            </a:br>
            <a:r>
              <a:rPr lang="cs-CZ" sz="1600" dirty="0" smtClean="0">
                <a:solidFill>
                  <a:srgbClr val="FF0000"/>
                </a:solidFill>
              </a:rPr>
              <a:t>Mgr. </a:t>
            </a:r>
            <a:r>
              <a:rPr lang="cs-CZ" sz="1600" dirty="0" err="1" smtClean="0">
                <a:solidFill>
                  <a:srgbClr val="FF0000"/>
                </a:solidFill>
              </a:rPr>
              <a:t>Možíšek</a:t>
            </a:r>
            <a:r>
              <a:rPr lang="cs-CZ" sz="1600" dirty="0" smtClean="0">
                <a:solidFill>
                  <a:srgbClr val="FF0000"/>
                </a:solidFill>
              </a:rPr>
              <a:t> Vladimír, LL.M.</a:t>
            </a:r>
            <a:r>
              <a:rPr lang="cs-CZ" sz="1600" dirty="0" smtClean="0"/>
              <a:t/>
            </a:r>
            <a:br>
              <a:rPr lang="cs-CZ" sz="1600" dirty="0" smtClean="0"/>
            </a:br>
            <a:r>
              <a:rPr lang="cs-CZ" dirty="0"/>
              <a:t/>
            </a:r>
            <a:br>
              <a:rPr lang="cs-CZ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7536160" y="548680"/>
            <a:ext cx="4536504" cy="641310"/>
          </a:xfrm>
          <a:solidFill>
            <a:srgbClr val="F3FBA3"/>
          </a:solidFill>
        </p:spPr>
        <p:txBody>
          <a:bodyPr/>
          <a:lstStyle/>
          <a:p>
            <a:pPr marL="457200" lvl="1" indent="0">
              <a:buNone/>
            </a:pPr>
            <a:r>
              <a:rPr lang="cs-CZ" sz="1200" b="1" dirty="0" smtClean="0">
                <a:solidFill>
                  <a:srgbClr val="FF0000"/>
                </a:solidFill>
              </a:rPr>
              <a:t>Řešené problémy území, predikce vývoje a opatření, Kontrolní činnost</a:t>
            </a:r>
          </a:p>
          <a:p>
            <a:pPr>
              <a:buFont typeface="Arial" panose="020B0604020202020204" pitchFamily="34" charset="0"/>
              <a:buChar char="•"/>
            </a:pPr>
            <a:endParaRPr lang="cs-CZ" sz="1600" b="1" dirty="0"/>
          </a:p>
        </p:txBody>
      </p:sp>
      <p:pic>
        <p:nvPicPr>
          <p:cNvPr id="6" name="Obráze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28" y="1268760"/>
            <a:ext cx="12025336" cy="3096344"/>
          </a:xfrm>
          <a:prstGeom prst="rect">
            <a:avLst/>
          </a:prstGeom>
        </p:spPr>
      </p:pic>
      <p:pic>
        <p:nvPicPr>
          <p:cNvPr id="7" name="Obráze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28" y="3961974"/>
            <a:ext cx="12025336" cy="2779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109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7" name="Zástupný symbol pro obsah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1544" y="1268760"/>
            <a:ext cx="7128792" cy="5445309"/>
          </a:xfrm>
        </p:spPr>
      </p:pic>
    </p:spTree>
    <p:extLst>
      <p:ext uri="{BB962C8B-B14F-4D97-AF65-F5344CB8AC3E}">
        <p14:creationId xmlns:p14="http://schemas.microsoft.com/office/powerpoint/2010/main" val="214514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4" name="Zástupný symbol pro obsah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1340768"/>
            <a:ext cx="10728169" cy="5400600"/>
          </a:xfrm>
        </p:spPr>
      </p:pic>
    </p:spTree>
    <p:extLst>
      <p:ext uri="{BB962C8B-B14F-4D97-AF65-F5344CB8AC3E}">
        <p14:creationId xmlns:p14="http://schemas.microsoft.com/office/powerpoint/2010/main" val="885896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LIDEID" val="150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Výchozí návrh">
  <a:themeElements>
    <a:clrScheme name="Výchozí návrh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ýchozí návr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Výchozí návrh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4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8.xml><?xml version="1.0" encoding="utf-8"?>
<a:theme xmlns:a="http://schemas.openxmlformats.org/drawingml/2006/main" name="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9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37</Words>
  <Application>Microsoft Office PowerPoint</Application>
  <PresentationFormat>Širokoúhlá obrazovka</PresentationFormat>
  <Paragraphs>485</Paragraphs>
  <Slides>31</Slides>
  <Notes>4</Notes>
  <HiddenSlides>0</HiddenSlides>
  <MMClips>0</MMClips>
  <ScaleCrop>false</ScaleCrop>
  <HeadingPairs>
    <vt:vector size="8" baseType="variant">
      <vt:variant>
        <vt:lpstr>Použitá písma</vt:lpstr>
      </vt:variant>
      <vt:variant>
        <vt:i4>6</vt:i4>
      </vt:variant>
      <vt:variant>
        <vt:lpstr>Motiv</vt:lpstr>
      </vt:variant>
      <vt:variant>
        <vt:i4>8</vt:i4>
      </vt:variant>
      <vt:variant>
        <vt:lpstr>Vložené servery OLE</vt:lpstr>
      </vt:variant>
      <vt:variant>
        <vt:i4>2</vt:i4>
      </vt:variant>
      <vt:variant>
        <vt:lpstr>Nadpisy snímků</vt:lpstr>
      </vt:variant>
      <vt:variant>
        <vt:i4>31</vt:i4>
      </vt:variant>
    </vt:vector>
  </HeadingPairs>
  <TitlesOfParts>
    <vt:vector size="47" baseType="lpstr">
      <vt:lpstr>Arial</vt:lpstr>
      <vt:lpstr>Arial (Základní text)</vt:lpstr>
      <vt:lpstr>Calibri</vt:lpstr>
      <vt:lpstr>Calibri Light</vt:lpstr>
      <vt:lpstr>Segoe UI</vt:lpstr>
      <vt:lpstr>Teuton Normal</vt:lpstr>
      <vt:lpstr>Motiv Office</vt:lpstr>
      <vt:lpstr>Výchozí návrh</vt:lpstr>
      <vt:lpstr>7_Motiv Office</vt:lpstr>
      <vt:lpstr>8_Motiv Office</vt:lpstr>
      <vt:lpstr>12_Motiv Office</vt:lpstr>
      <vt:lpstr>4_Motiv Office</vt:lpstr>
      <vt:lpstr>1_Motiv Office</vt:lpstr>
      <vt:lpstr>3_Motiv Office</vt:lpstr>
      <vt:lpstr>List Microsoft Excelu</vt:lpstr>
      <vt:lpstr>List</vt:lpstr>
      <vt:lpstr> 16. porada hejtmana  se starosty ORP ZK    Zlín, 11:00 h;  21. dubna 2021 místnost 1120 Ing. Robert Pekaj tajemník KŠ ZK   </vt:lpstr>
      <vt:lpstr>Program jednání:</vt:lpstr>
      <vt:lpstr>Úvod:</vt:lpstr>
      <vt:lpstr>Prezentace aplikace PowerPoint</vt:lpstr>
      <vt:lpstr>Informace o nasazení AČR na území ZK k 21. 4. 2021.</vt:lpstr>
      <vt:lpstr>Informace ředitele KŘ policie ZK</vt:lpstr>
      <vt:lpstr>Informace o aktuální EPI situaci  Mgr. Možíšek Vladimír, LL.M.  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14 denní počet nových případů (na 100 000 obyv.) v ORP</vt:lpstr>
      <vt:lpstr>14 denní počet nových případů (na 100 000 obyv.) v ORP</vt:lpstr>
      <vt:lpstr>Počty nově diagnostikovaných pacientů: týdenní vývoj v ZLK</vt:lpstr>
      <vt:lpstr>Nové případy za 14 dní na 100 000 obyvatel: srovnání krajů k 16.4.</vt:lpstr>
      <vt:lpstr>Nové případy za 14 dní na 100 000 obyvatel: 15 okresů s nejvyššími hodnotami k 16.4.</vt:lpstr>
      <vt:lpstr>Prezentace aplikace PowerPoint</vt:lpstr>
      <vt:lpstr>Prezentace aplikace PowerPoint</vt:lpstr>
      <vt:lpstr>Národní dispečink lůžkové péče</vt:lpstr>
      <vt:lpstr>Národní dispečink lůžkové péče</vt:lpstr>
      <vt:lpstr> Aktuální čísla: Zařízení – 37 Klienti – 19 Pracovníci – 32 Úmrtí – 232 </vt:lpstr>
      <vt:lpstr>Prezentace aplikace PowerPoint</vt:lpstr>
      <vt:lpstr>Prezentace aplikace PowerPoint</vt:lpstr>
      <vt:lpstr>Stav očkování obyvatel Zlínského kraje k 16. 4. 2021</vt:lpstr>
      <vt:lpstr>Prezentace aplikace PowerPoint</vt:lpstr>
      <vt:lpstr>Prezentace aplikace PowerPoint</vt:lpstr>
      <vt:lpstr>Prezentace aplikace PowerPoint</vt:lpstr>
      <vt:lpstr>6. Různé</vt:lpstr>
    </vt:vector>
  </TitlesOfParts>
  <Company>Krajský úřad Zlínského kraj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16. porada hejtmana  se starosty ORP ZK    Zlín, 11:00 h;  21. dubna 2021 místnost 1120 Ing. Robert Pekaj tajemník KŠ ZK   </dc:title>
  <dc:creator>Pekaj Robert</dc:creator>
  <cp:lastModifiedBy>Pekaj Robert</cp:lastModifiedBy>
  <cp:revision>1</cp:revision>
  <dcterms:created xsi:type="dcterms:W3CDTF">2021-04-21T08:36:14Z</dcterms:created>
  <dcterms:modified xsi:type="dcterms:W3CDTF">2021-04-21T08:36:45Z</dcterms:modified>
</cp:coreProperties>
</file>